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62" r:id="rId2"/>
    <p:sldId id="266" r:id="rId3"/>
    <p:sldId id="265" r:id="rId4"/>
    <p:sldId id="280" r:id="rId5"/>
    <p:sldId id="301" r:id="rId6"/>
    <p:sldId id="302" r:id="rId7"/>
    <p:sldId id="277" r:id="rId8"/>
    <p:sldId id="305" r:id="rId9"/>
    <p:sldId id="304" r:id="rId10"/>
    <p:sldId id="300" r:id="rId11"/>
    <p:sldId id="309" r:id="rId12"/>
    <p:sldId id="283" r:id="rId13"/>
    <p:sldId id="281" r:id="rId14"/>
    <p:sldId id="307" r:id="rId15"/>
    <p:sldId id="284" r:id="rId16"/>
    <p:sldId id="285" r:id="rId17"/>
    <p:sldId id="286" r:id="rId18"/>
    <p:sldId id="293" r:id="rId19"/>
    <p:sldId id="287" r:id="rId20"/>
    <p:sldId id="294" r:id="rId21"/>
    <p:sldId id="288" r:id="rId22"/>
    <p:sldId id="295" r:id="rId23"/>
    <p:sldId id="289" r:id="rId24"/>
    <p:sldId id="296" r:id="rId25"/>
    <p:sldId id="290" r:id="rId26"/>
    <p:sldId id="297" r:id="rId27"/>
    <p:sldId id="291" r:id="rId28"/>
    <p:sldId id="306" r:id="rId29"/>
    <p:sldId id="308" r:id="rId30"/>
    <p:sldId id="292" r:id="rId31"/>
    <p:sldId id="299" r:id="rId32"/>
    <p:sldId id="279" r:id="rId33"/>
    <p:sldId id="274" r:id="rId34"/>
  </p:sldIdLst>
  <p:sldSz cx="9144000" cy="6858000" type="screen4x3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rk Gersdorf" initials="DG" lastIdx="1" clrIdx="0">
    <p:extLst>
      <p:ext uri="{19B8F6BF-5375-455C-9EA6-DF929625EA0E}">
        <p15:presenceInfo xmlns:p15="http://schemas.microsoft.com/office/powerpoint/2012/main" userId="Dirk Gersdorf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676C"/>
    <a:srgbClr val="4D4D4D"/>
    <a:srgbClr val="B2B2B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25" autoAdjust="0"/>
    <p:restoredTop sz="96656" autoAdjust="0"/>
  </p:normalViewPr>
  <p:slideViewPr>
    <p:cSldViewPr snapToGrid="0">
      <p:cViewPr varScale="1">
        <p:scale>
          <a:sx n="115" d="100"/>
          <a:sy n="115" d="100"/>
        </p:scale>
        <p:origin x="1986" y="108"/>
      </p:cViewPr>
      <p:guideLst>
        <p:guide orient="horz"/>
        <p:guide pos="5759"/>
      </p:guideLst>
    </p:cSldViewPr>
  </p:slideViewPr>
  <p:outlineViewPr>
    <p:cViewPr>
      <p:scale>
        <a:sx n="33" d="100"/>
        <a:sy n="33" d="100"/>
      </p:scale>
      <p:origin x="0" y="-1177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4" d="100"/>
          <a:sy n="64" d="100"/>
        </p:scale>
        <p:origin x="-3342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8-11T10:32:11.344" idx="1">
    <p:pos x="10" y="10"/>
    <p:text>Die Fußzeile passen Sie über: Einfügen - Kopf und Fußzeile an.</p:text>
    <p:extLst>
      <p:ext uri="{C676402C-5697-4E1C-873F-D02D1690AC5C}">
        <p15:threadingInfo xmlns:p15="http://schemas.microsoft.com/office/powerpoint/2012/main" timeZoneBias="-12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DB2EA-6940-4973-8AB4-F128B6F0DF73}" type="datetimeFigureOut">
              <a:rPr lang="de-DE" smtClean="0"/>
              <a:t>14.09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77C63F-269A-4CA4-B68B-E485A2DF77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49619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6C81E5-FAA2-404A-BC25-EC2F52FDB34E}" type="datetimeFigureOut">
              <a:rPr lang="de-DE" smtClean="0"/>
              <a:t>14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9D4542-6959-4BD1-9E2D-9129EB622A0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184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2040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63663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4333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1882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38218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1726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3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9640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17198" y="3306482"/>
            <a:ext cx="4976116" cy="568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lIns="216000" tIns="7200" rIns="216000" bIns="7200" anchor="ctr" anchorCtr="0">
            <a:spAutoFit/>
          </a:bodyPr>
          <a:lstStyle>
            <a:lvl1pPr algn="l"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Hier steht der Titel der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19999" y="6375600"/>
            <a:ext cx="6660000" cy="15388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>
              <a:defRPr lang="de-DE" smtClean="0"/>
            </a:lvl1pPr>
          </a:lstStyle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17198" y="3938715"/>
            <a:ext cx="5796661" cy="568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216000" tIns="7200" rIns="216000" bIns="7200" rtlCol="0" anchor="ctr" anchorCtr="0">
            <a:spAutoFit/>
          </a:bodyPr>
          <a:lstStyle>
            <a:lvl1pPr>
              <a:defRPr lang="de-DE" sz="36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Präsentation. Intimus </a:t>
            </a:r>
            <a:r>
              <a:rPr lang="de-DE" dirty="0" err="1"/>
              <a:t>eum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7198" y="4570947"/>
            <a:ext cx="5334996" cy="568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216000" tIns="7200" rIns="216000" bIns="7200" rtlCol="0" anchor="ctr" anchorCtr="0">
            <a:spAutoFit/>
          </a:bodyPr>
          <a:lstStyle>
            <a:lvl1pPr>
              <a:defRPr lang="de-DE" sz="36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err="1"/>
              <a:t>volorror</a:t>
            </a:r>
            <a:r>
              <a:rPr lang="de-DE" dirty="0"/>
              <a:t> </a:t>
            </a:r>
            <a:r>
              <a:rPr lang="de-DE" dirty="0" err="1"/>
              <a:t>sum</a:t>
            </a:r>
            <a:r>
              <a:rPr lang="de-DE" dirty="0"/>
              <a:t> et </a:t>
            </a:r>
            <a:r>
              <a:rPr lang="de-DE" dirty="0" err="1"/>
              <a:t>idis</a:t>
            </a:r>
            <a:r>
              <a:rPr lang="de-DE" dirty="0"/>
              <a:t> </a:t>
            </a:r>
            <a:r>
              <a:rPr lang="de-DE" dirty="0" err="1"/>
              <a:t>dolu</a:t>
            </a:r>
            <a:endParaRPr lang="de-DE" dirty="0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B459E5E3-0034-4916-A6B5-DCD6B3BA3A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7992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410" y="205574"/>
            <a:ext cx="2688644" cy="138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391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000" y="1233857"/>
            <a:ext cx="4320000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9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93DD6E-215C-4AEA-BE2C-E07A14DA9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84000" y="2115046"/>
            <a:ext cx="4320000" cy="3734321"/>
          </a:xfrm>
          <a:prstGeom prst="rect">
            <a:avLst/>
          </a:prstGeom>
        </p:spPr>
        <p:txBody>
          <a:bodyPr lIns="0" tIns="0" rIns="0" bIns="0"/>
          <a:lstStyle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0000" y="1276401"/>
            <a:ext cx="3186000" cy="4553999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8522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000" y="1233857"/>
            <a:ext cx="4320000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93DD6E-215C-4AEA-BE2C-E07A14DA9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84000" y="1526246"/>
            <a:ext cx="4320000" cy="3392595"/>
          </a:xfrm>
          <a:prstGeom prst="rect">
            <a:avLst/>
          </a:prstGeom>
        </p:spPr>
        <p:txBody>
          <a:bodyPr lIns="0" tIns="0" rIns="0" bIns="0"/>
          <a:lstStyle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0000" y="1276401"/>
            <a:ext cx="3186000" cy="4553999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id="{75D3A42C-E2AF-4F83-8187-235E39CDF1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84000" y="5218386"/>
            <a:ext cx="4320000" cy="64249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1700"/>
              </a:lnSpc>
              <a:defRPr sz="140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04770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se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BEF3E241-F407-4DDC-BCEC-07B7E9686D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7198" y="3352678"/>
            <a:ext cx="4680000" cy="1066111"/>
          </a:xfrm>
          <a:prstGeom prst="rect">
            <a:avLst/>
          </a:prstGeom>
          <a:noFill/>
          <a:ln>
            <a:noFill/>
          </a:ln>
        </p:spPr>
        <p:txBody>
          <a:bodyPr wrap="square" lIns="216000" tIns="7200" rIns="216000" bIns="7200" anchor="t" anchorCtr="0">
            <a:spAutoFit/>
          </a:bodyPr>
          <a:lstStyle>
            <a:lvl1pPr algn="l">
              <a:lnSpc>
                <a:spcPts val="4100"/>
              </a:lnSpc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Vielen Dank für Ihre</a:t>
            </a:r>
            <a:br>
              <a:rPr lang="de-DE" dirty="0"/>
            </a:br>
            <a:r>
              <a:rPr lang="de-DE" dirty="0"/>
              <a:t>Aufmerksamkeit!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6EEF787-6B8F-4BC2-8F08-C55741465C4A}"/>
              </a:ext>
            </a:extLst>
          </p:cNvPr>
          <p:cNvGrpSpPr/>
          <p:nvPr userDrawn="1"/>
        </p:nvGrpSpPr>
        <p:grpSpPr>
          <a:xfrm>
            <a:off x="6742800" y="543008"/>
            <a:ext cx="2401200" cy="756000"/>
            <a:chOff x="6742800" y="543008"/>
            <a:chExt cx="2401200" cy="756000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9A8E16EA-965A-4EC9-BEEA-19FD3B238A0B}"/>
                </a:ext>
              </a:extLst>
            </p:cNvPr>
            <p:cNvSpPr/>
            <p:nvPr userDrawn="1"/>
          </p:nvSpPr>
          <p:spPr>
            <a:xfrm>
              <a:off x="6742800" y="543008"/>
              <a:ext cx="2401200" cy="75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78103964-0D79-4FEF-B17E-651B002859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21" t="17196" r="13234" b="17883"/>
            <a:stretch/>
          </p:blipFill>
          <p:spPr>
            <a:xfrm>
              <a:off x="6860917" y="662278"/>
              <a:ext cx="2018931" cy="507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73067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E93F5-5F72-42EB-B9B1-8803B4549798}" type="datetimeFigureOut">
              <a:rPr lang="de-DE" smtClean="0"/>
              <a:t>14.09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345916" y="6375541"/>
            <a:ext cx="258084" cy="153888"/>
          </a:xfrm>
        </p:spPr>
        <p:txBody>
          <a:bodyPr/>
          <a:lstStyle/>
          <a:p>
            <a:fld id="{5F122E67-A235-47F2-B6BC-4229B94B571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1227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09EC700-BB3B-41CA-A63A-2938058115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19FDA3-562A-420D-9FDF-051A14BC9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wrap="square" lIns="0" tIns="0" rIns="0" bIns="0" anchor="t" anchorCtr="0">
            <a:spAutoFit/>
          </a:bodyPr>
          <a:lstStyle>
            <a:lvl1pPr>
              <a:defRPr lang="de-DE" smtClean="0"/>
            </a:lvl1pPr>
          </a:lstStyle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3A8F27-3962-4674-B727-8D1A7F144D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BEF3E241-F407-4DDC-BCEC-07B7E9686D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7198" y="3306219"/>
            <a:ext cx="3154912" cy="568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lIns="216000" tIns="7200" rIns="216000" bIns="7200" anchor="ctr" anchorCtr="0">
            <a:spAutoFit/>
          </a:bodyPr>
          <a:lstStyle>
            <a:lvl1pPr algn="l"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Hier steht die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106400FE-51BE-4E4E-8E14-82DF4E5AD1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7198" y="3938715"/>
            <a:ext cx="4001297" cy="5685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216000" tIns="7200" rIns="216000" bIns="7200" rtlCol="0" anchor="ctr" anchorCtr="0">
            <a:spAutoFit/>
          </a:bodyPr>
          <a:lstStyle>
            <a:lvl1pPr>
              <a:defRPr lang="de-DE" sz="36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Kapitelüberschrif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1FAD138-3EB1-450D-A19B-2766A35579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198" y="2719543"/>
            <a:ext cx="2359822" cy="568538"/>
          </a:xfrm>
          <a:prstGeom prst="rect">
            <a:avLst/>
          </a:prstGeom>
          <a:noFill/>
          <a:ln>
            <a:noFill/>
          </a:ln>
        </p:spPr>
        <p:txBody>
          <a:bodyPr vert="horz" wrap="none" lIns="216000" tIns="7200" rIns="216000" bIns="7200" rtlCol="0" anchor="ctr" anchorCtr="0">
            <a:spAutoFit/>
          </a:bodyPr>
          <a:lstStyle>
            <a:lvl1pPr>
              <a:defRPr lang="de-DE" sz="3600" b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r>
              <a:rPr lang="de-DE" dirty="0">
                <a:solidFill>
                  <a:schemeClr val="tx2"/>
                </a:solidFill>
              </a:rPr>
              <a:t>#. Kapitel</a:t>
            </a:r>
          </a:p>
        </p:txBody>
      </p:sp>
    </p:spTree>
    <p:extLst>
      <p:ext uri="{BB962C8B-B14F-4D97-AF65-F5344CB8AC3E}">
        <p14:creationId xmlns:p14="http://schemas.microsoft.com/office/powerpoint/2010/main" val="1680316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1222427"/>
            <a:ext cx="6660000" cy="3847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93DD6E-215C-4AEA-BE2C-E07A14DA9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4BD39A7-D3C0-4EEC-BFD4-E217EFBA6C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1805527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1">
                <a:solidFill>
                  <a:schemeClr val="tx2"/>
                </a:solidFill>
              </a:defRPr>
            </a:lvl1pPr>
            <a:lvl2pPr marL="450850" indent="0">
              <a:buNone/>
              <a:defRPr lang="en-GB" sz="1900" b="0" i="0" u="none" strike="noStrike" baseline="0" smtClean="0"/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1. Kapitel in 25 pt</a:t>
            </a:r>
          </a:p>
          <a:p>
            <a:pPr lvl="1"/>
            <a:r>
              <a:rPr lang="de-DE" dirty="0"/>
              <a:t>1.1. </a:t>
            </a:r>
            <a:r>
              <a:rPr lang="de-DE" sz="1900" b="0" i="0" u="none" strike="noStrike" baseline="0" dirty="0">
                <a:latin typeface="ArialMT"/>
              </a:rPr>
              <a:t>Unterkapitel in 19 pt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1.2. Unterkapitel</a:t>
            </a:r>
            <a:endParaRPr lang="de-DE" dirty="0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F761635-273E-450E-9199-235A10990A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805527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1">
                <a:solidFill>
                  <a:schemeClr val="tx2"/>
                </a:solidFill>
              </a:defRPr>
            </a:lvl1pPr>
            <a:lvl2pPr marL="450850" indent="0">
              <a:buNone/>
              <a:defRPr lang="en-GB" sz="1900" b="0" i="0" u="none" strike="noStrike" baseline="0" smtClean="0"/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4. Kapitel</a:t>
            </a:r>
          </a:p>
          <a:p>
            <a:pPr lvl="1"/>
            <a:r>
              <a:rPr lang="de-DE" dirty="0"/>
              <a:t>4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4.2. Unterkapitel</a:t>
            </a:r>
            <a:endParaRPr lang="de-DE" dirty="0"/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4F11B006-BFF7-4D34-9824-F9A2C0521D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198" y="2976923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1">
                <a:solidFill>
                  <a:schemeClr val="tx2"/>
                </a:solidFill>
              </a:defRPr>
            </a:lvl1pPr>
            <a:lvl2pPr marL="450850" indent="0">
              <a:buNone/>
              <a:defRPr lang="en-GB" sz="1900" b="0" i="0" u="none" strike="noStrike" baseline="0" smtClean="0"/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2. Kapitel</a:t>
            </a:r>
          </a:p>
          <a:p>
            <a:pPr lvl="1"/>
            <a:r>
              <a:rPr lang="de-DE" dirty="0"/>
              <a:t>2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2.2. Unterkapitel</a:t>
            </a:r>
            <a:endParaRPr lang="de-DE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A7D29BDD-1410-43FE-AE14-00F493948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2976923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1">
                <a:solidFill>
                  <a:schemeClr val="tx2"/>
                </a:solidFill>
              </a:defRPr>
            </a:lvl1pPr>
            <a:lvl2pPr marL="450850" indent="0">
              <a:buNone/>
              <a:defRPr lang="en-GB" sz="1900" b="0" i="0" u="none" strike="noStrike" baseline="0" smtClean="0"/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5. Kapitel</a:t>
            </a:r>
          </a:p>
          <a:p>
            <a:pPr lvl="1"/>
            <a:r>
              <a:rPr lang="de-DE" dirty="0"/>
              <a:t>5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5.2. Unterkapitel</a:t>
            </a:r>
            <a:endParaRPr lang="de-DE" dirty="0"/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EB8A8B0A-6E87-47B4-B7F8-DC9B0A11385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198" y="4148319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1">
                <a:solidFill>
                  <a:schemeClr val="tx2"/>
                </a:solidFill>
              </a:defRPr>
            </a:lvl1pPr>
            <a:lvl2pPr marL="450850" indent="0">
              <a:buNone/>
              <a:defRPr lang="en-GB" sz="1900" b="0" i="0" u="none" strike="noStrike" baseline="0" smtClean="0"/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3. Kapitel</a:t>
            </a:r>
          </a:p>
          <a:p>
            <a:pPr lvl="1"/>
            <a:r>
              <a:rPr lang="de-DE" dirty="0"/>
              <a:t>3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3.2. Unterkapitel</a:t>
            </a:r>
            <a:endParaRPr lang="de-DE" dirty="0"/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4C58E79D-C688-4B3C-B007-B18B2B8B60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0" y="4148319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1">
                <a:solidFill>
                  <a:schemeClr val="tx2"/>
                </a:solidFill>
              </a:defRPr>
            </a:lvl1pPr>
            <a:lvl2pPr marL="450850" indent="0">
              <a:buNone/>
              <a:defRPr lang="en-GB" sz="1900" b="0" i="0" u="none" strike="noStrike" baseline="0" smtClean="0"/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6. Kapitel</a:t>
            </a:r>
          </a:p>
          <a:p>
            <a:pPr lvl="1"/>
            <a:r>
              <a:rPr lang="de-DE" dirty="0"/>
              <a:t>6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6.2. Unterkap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0536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groß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222427"/>
            <a:ext cx="6660000" cy="3847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de-DE" sz="25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93DD6E-215C-4AEA-BE2C-E07A14DA9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18" name="Textplatzhalter 19">
            <a:extLst>
              <a:ext uri="{FF2B5EF4-FFF2-40B4-BE49-F238E27FC236}">
                <a16:creationId xmlns:a16="http://schemas.microsoft.com/office/drawing/2014/main" id="{65E693F4-7601-4892-AF28-E1A94E8105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8" y="1877013"/>
            <a:ext cx="6660000" cy="292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Zwischenüberschrift hinzufüg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2175974"/>
            <a:ext cx="6660000" cy="3780000"/>
          </a:xfrm>
          <a:prstGeom prst="rect">
            <a:avLst/>
          </a:prstGeom>
        </p:spPr>
        <p:txBody>
          <a:bodyPr lIns="0" tIns="0" rIns="0" bIns="0"/>
          <a:lstStyle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8315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1233857"/>
            <a:ext cx="6660000" cy="2923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Zwischenüberschrift hinzufüg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93DD6E-215C-4AEA-BE2C-E07A14DA9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1539000"/>
            <a:ext cx="6660000" cy="2324340"/>
          </a:xfrm>
          <a:prstGeom prst="rect">
            <a:avLst/>
          </a:prstGeom>
        </p:spPr>
        <p:txBody>
          <a:bodyPr lIns="0" tIns="0" rIns="0" bIns="0"/>
          <a:lstStyle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514F9326-45EB-4C8E-85CC-F35C71F40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9998" y="4418229"/>
            <a:ext cx="6660000" cy="140785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050"/>
              </a:lnSpc>
              <a:defRPr sz="1700"/>
            </a:lvl1pPr>
            <a:lvl2pPr>
              <a:lnSpc>
                <a:spcPts val="2050"/>
              </a:lnSpc>
              <a:defRPr sz="1700"/>
            </a:lvl2pPr>
            <a:lvl3pPr>
              <a:lnSpc>
                <a:spcPts val="2050"/>
              </a:lnSpc>
              <a:defRPr sz="1700"/>
            </a:lvl3pPr>
            <a:lvl4pPr>
              <a:lnSpc>
                <a:spcPts val="2050"/>
              </a:lnSpc>
              <a:buClr>
                <a:schemeClr val="tx2"/>
              </a:buClr>
              <a:defRPr sz="1700"/>
            </a:lvl4pPr>
            <a:lvl5pPr>
              <a:lnSpc>
                <a:spcPts val="2050"/>
              </a:lnSpc>
              <a:buClr>
                <a:schemeClr val="tx2"/>
              </a:buClr>
              <a:defRPr sz="17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EC0F5FB-F31D-4D69-9C01-F8F41B19C7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550" y="4151310"/>
            <a:ext cx="6659563" cy="238125"/>
          </a:xfrm>
          <a:prstGeom prst="rect">
            <a:avLst/>
          </a:prstGeom>
        </p:spPr>
        <p:txBody>
          <a:bodyPr lIns="0" tIns="0" rIns="0" bIns="0"/>
          <a:lstStyle>
            <a:lvl1pPr>
              <a:defRPr sz="1700" b="1">
                <a:latin typeface="+mj-lt"/>
              </a:defRPr>
            </a:lvl1pPr>
          </a:lstStyle>
          <a:p>
            <a:pPr lvl="0"/>
            <a:r>
              <a:rPr lang="de-DE" dirty="0"/>
              <a:t>Zwischen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323133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233857"/>
            <a:ext cx="4320000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9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93DD6E-215C-4AEA-BE2C-E07A14DA9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2115046"/>
            <a:ext cx="4320000" cy="3734321"/>
          </a:xfrm>
          <a:prstGeom prst="rect">
            <a:avLst/>
          </a:prstGeom>
        </p:spPr>
        <p:txBody>
          <a:bodyPr lIns="0" tIns="0" rIns="0" bIns="0"/>
          <a:lstStyle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418000" y="1306882"/>
            <a:ext cx="3186000" cy="2160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8AE079F9-B2EA-4D2F-AE1B-7BE03196CCB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18000" y="3689367"/>
            <a:ext cx="3186000" cy="2160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4486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000" y="1233857"/>
            <a:ext cx="4320000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9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93DD6E-215C-4AEA-BE2C-E07A14DA9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84000" y="2115046"/>
            <a:ext cx="4320000" cy="3734321"/>
          </a:xfrm>
          <a:prstGeom prst="rect">
            <a:avLst/>
          </a:prstGeom>
        </p:spPr>
        <p:txBody>
          <a:bodyPr lIns="0" tIns="0" rIns="0" bIns="0"/>
          <a:lstStyle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0000" y="1294182"/>
            <a:ext cx="3186000" cy="2160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8AE079F9-B2EA-4D2F-AE1B-7BE03196CCB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20000" y="3676667"/>
            <a:ext cx="3186000" cy="2160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637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222427"/>
            <a:ext cx="4536000" cy="3847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5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93DD6E-215C-4AEA-BE2C-E07A14DA9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2143625"/>
            <a:ext cx="4536000" cy="3717258"/>
          </a:xfrm>
          <a:prstGeom prst="rect">
            <a:avLst/>
          </a:prstGeom>
        </p:spPr>
        <p:txBody>
          <a:bodyPr lIns="0" tIns="0" rIns="0" bIns="0"/>
          <a:lstStyle>
            <a:lvl1pPr>
              <a:defRPr sz="1900"/>
            </a:lvl1pPr>
            <a:lvl2pPr>
              <a:defRPr sz="1900"/>
            </a:lvl2pPr>
            <a:lvl3pPr>
              <a:defRPr sz="1900"/>
            </a:lvl3pPr>
            <a:lvl4pPr>
              <a:buClr>
                <a:schemeClr val="tx2"/>
              </a:buClr>
              <a:defRPr sz="1900"/>
            </a:lvl4pPr>
            <a:lvl5pPr>
              <a:buClr>
                <a:schemeClr val="tx2"/>
              </a:buClr>
              <a:defRPr sz="19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418000" y="1263702"/>
            <a:ext cx="3186000" cy="4554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9A3DE682-6273-4FE1-AAB5-11D392FBA23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0000" y="1853198"/>
            <a:ext cx="4536000" cy="292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900" b="1"/>
            </a:lvl1pPr>
          </a:lstStyle>
          <a:p>
            <a:pPr lvl="0"/>
            <a:r>
              <a:rPr lang="de-DE" dirty="0"/>
              <a:t>Zwischen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8656625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214807"/>
            <a:ext cx="4536000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9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93DD6E-215C-4AEA-BE2C-E07A14DA9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0000"/>
            <a:ext cx="1854207" cy="197510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1000" b="1" cap="all" dirty="0" smtClean="0">
                <a:solidFill>
                  <a:schemeClr val="bg1"/>
                </a:solidFill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2085975"/>
            <a:ext cx="4536000" cy="3774908"/>
          </a:xfrm>
          <a:prstGeom prst="rect">
            <a:avLst/>
          </a:prstGeom>
        </p:spPr>
        <p:txBody>
          <a:bodyPr lIns="0" tIns="0" rIns="0" bIns="0"/>
          <a:lstStyle>
            <a:lvl1pPr>
              <a:defRPr sz="1900"/>
            </a:lvl1pPr>
            <a:lvl2pPr>
              <a:defRPr sz="1900"/>
            </a:lvl2pPr>
            <a:lvl3pPr>
              <a:defRPr sz="1900"/>
            </a:lvl3pPr>
            <a:lvl4pPr>
              <a:buClr>
                <a:schemeClr val="tx2"/>
              </a:buClr>
              <a:defRPr sz="1900"/>
            </a:lvl4pPr>
            <a:lvl5pPr>
              <a:buClr>
                <a:schemeClr val="tx2"/>
              </a:buClr>
              <a:defRPr sz="1900"/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418000" y="1263702"/>
            <a:ext cx="3186000" cy="4554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722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06694" y="6375541"/>
            <a:ext cx="697306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19999" y="6375541"/>
            <a:ext cx="6660000" cy="15388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defRPr sz="1000" cap="all" baseline="0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VORNAME NACHNAME / Einrichtung / DATUM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7512" y="164756"/>
            <a:ext cx="2591115" cy="133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7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0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2" r:id="rId12"/>
    <p:sldLayoutId id="2147483673" r:id="rId1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900" b="1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E2001A"/>
        </a:buClr>
        <a:buSzTx/>
        <a:buFont typeface="Wingdings" panose="05000000000000000000" pitchFamily="2" charset="2"/>
        <a:buNone/>
        <a:tabLst/>
        <a:defRPr lang="de-DE" sz="19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7800" algn="l" defTabSz="914400" rtl="0" eaLnBrk="1" latinLnBrk="0" hangingPunct="1">
        <a:spcBef>
          <a:spcPts val="0"/>
        </a:spcBef>
        <a:buClr>
          <a:schemeClr val="tx2"/>
        </a:buClr>
        <a:buSzPct val="66000"/>
        <a:buFont typeface="Wingdings" panose="05000000000000000000" pitchFamily="2" charset="2"/>
        <a:buChar char="n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44450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5000"/>
        <a:buFont typeface="Wingdings" panose="05000000000000000000" pitchFamily="2" charset="2"/>
        <a:buNone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630238" marR="0" indent="-1825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E2001A"/>
        </a:buClr>
        <a:buSzPct val="100000"/>
        <a:buFont typeface="Wingdings" panose="05000000000000000000" pitchFamily="2" charset="2"/>
        <a:buChar char="§"/>
        <a:tabLst/>
        <a:defRPr lang="de-DE" sz="19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09625" marR="0" indent="-2095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E2001A"/>
        </a:buClr>
        <a:buSzPct val="100000"/>
        <a:buFont typeface="Arial Black" panose="020B0A04020102020204" pitchFamily="34" charset="0"/>
        <a:buChar char="−"/>
        <a:tabLst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eefl.esa@awo-thueringen.de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awo-thueringen.de/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3EB17F61-2BFB-4A1C-B339-F17E148839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356" y="3527056"/>
            <a:ext cx="8395642" cy="568538"/>
          </a:xfrm>
        </p:spPr>
        <p:txBody>
          <a:bodyPr/>
          <a:lstStyle/>
          <a:p>
            <a:r>
              <a:rPr lang="de-DE" dirty="0" smtClean="0"/>
              <a:t>AWO Erziehungs-, Ehe-, Familien- und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120729B8-501C-44A1-913A-2AA5DD82AD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356" y="4152019"/>
            <a:ext cx="5206755" cy="568538"/>
          </a:xfrm>
        </p:spPr>
        <p:txBody>
          <a:bodyPr/>
          <a:lstStyle/>
          <a:p>
            <a:pPr lvl="0"/>
            <a:r>
              <a:rPr lang="de-DE" dirty="0" smtClean="0"/>
              <a:t>Lebensberatungsstelle </a:t>
            </a:r>
            <a:endParaRPr lang="de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5FEB6DE-DCAD-4C00-9588-0E58F47EA6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4356" y="4776982"/>
            <a:ext cx="6771286" cy="568538"/>
          </a:xfrm>
        </p:spPr>
        <p:txBody>
          <a:bodyPr/>
          <a:lstStyle/>
          <a:p>
            <a:r>
              <a:rPr lang="de-DE" dirty="0" smtClean="0"/>
              <a:t>Frauenberg 1, 99817 Eisenach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FB71259-C42B-4E73-87FC-346206FF30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7198" y="7992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</a:t>
            </a:r>
            <a:r>
              <a:rPr lang="de-DE" dirty="0" err="1" smtClean="0"/>
              <a:t>eefl</a:t>
            </a:r>
            <a:r>
              <a:rPr lang="de-DE" dirty="0" smtClean="0"/>
              <a:t> </a:t>
            </a:r>
            <a:r>
              <a:rPr lang="de-DE" dirty="0" err="1" smtClean="0"/>
              <a:t>eisena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721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BFCD11C-50A7-4ACB-A4A5-7A3BF4C94E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609600" y="970239"/>
            <a:ext cx="7343559" cy="4677356"/>
          </a:xfrm>
        </p:spPr>
        <p:txBody>
          <a:bodyPr/>
          <a:lstStyle/>
          <a:p>
            <a:r>
              <a:rPr lang="de-DE" dirty="0"/>
              <a:t>3</a:t>
            </a:r>
            <a:r>
              <a:rPr lang="de-DE" dirty="0" smtClean="0"/>
              <a:t>. Unsere Angebote </a:t>
            </a:r>
          </a:p>
          <a:p>
            <a:endParaRPr lang="de-DE" dirty="0"/>
          </a:p>
          <a:p>
            <a:endParaRPr lang="de-DE" dirty="0" smtClean="0"/>
          </a:p>
          <a:p>
            <a:r>
              <a:rPr lang="de-DE" altLang="de-DE" sz="2000" dirty="0" smtClean="0">
                <a:solidFill>
                  <a:schemeClr val="tx1"/>
                </a:solidFill>
              </a:rPr>
              <a:t>        </a:t>
            </a:r>
          </a:p>
          <a:p>
            <a:endParaRPr lang="de-DE" altLang="de-DE" sz="2000" dirty="0" smtClean="0">
              <a:solidFill>
                <a:schemeClr val="tx1"/>
              </a:solidFill>
            </a:endParaRPr>
          </a:p>
          <a:p>
            <a:r>
              <a:rPr lang="de-DE" altLang="de-DE" sz="2000" dirty="0" smtClean="0">
                <a:solidFill>
                  <a:schemeClr val="tx1"/>
                </a:solidFill>
              </a:rPr>
              <a:t>        Hilfen zur Erziehung gemäß §§ 27 und 28 SGB VIII</a:t>
            </a:r>
          </a:p>
          <a:p>
            <a:r>
              <a:rPr lang="de-DE" sz="2000" dirty="0" smtClean="0">
                <a:solidFill>
                  <a:schemeClr val="tx1"/>
                </a:solidFill>
              </a:rPr>
              <a:t>        und allgemeine Förderung der Erziehung in der Familie </a:t>
            </a:r>
          </a:p>
          <a:p>
            <a:r>
              <a:rPr lang="de-DE" sz="2000" dirty="0">
                <a:solidFill>
                  <a:schemeClr val="tx1"/>
                </a:solidFill>
              </a:rPr>
              <a:t> </a:t>
            </a:r>
            <a:r>
              <a:rPr lang="de-DE" sz="2000" dirty="0" smtClean="0">
                <a:solidFill>
                  <a:schemeClr val="tx1"/>
                </a:solidFill>
              </a:rPr>
              <a:t>       gemäß §§ 16-18 SGB VIII</a:t>
            </a:r>
          </a:p>
          <a:p>
            <a:endParaRPr lang="de-DE" sz="2500" dirty="0" smtClean="0">
              <a:solidFill>
                <a:schemeClr val="tx1"/>
              </a:solidFill>
            </a:endParaRPr>
          </a:p>
          <a:p>
            <a:r>
              <a:rPr lang="de-DE" sz="2500" dirty="0">
                <a:solidFill>
                  <a:srgbClr val="FF0000"/>
                </a:solidFill>
              </a:rPr>
              <a:t> </a:t>
            </a:r>
            <a:r>
              <a:rPr lang="de-DE" sz="2500" dirty="0" smtClean="0">
                <a:solidFill>
                  <a:srgbClr val="FF0000"/>
                </a:solidFill>
              </a:rPr>
              <a:t>    </a:t>
            </a:r>
            <a:endParaRPr lang="de-DE" sz="2500" dirty="0">
              <a:solidFill>
                <a:schemeClr val="tx1"/>
              </a:solidFill>
            </a:endParaRPr>
          </a:p>
          <a:p>
            <a:endParaRPr lang="de-DE" sz="2000" dirty="0" smtClean="0">
              <a:solidFill>
                <a:schemeClr val="tx1"/>
              </a:solidFill>
            </a:endParaRPr>
          </a:p>
          <a:p>
            <a:endParaRPr lang="de-DE" sz="2500" b="1" dirty="0">
              <a:solidFill>
                <a:srgbClr val="FF0000"/>
              </a:solidFill>
            </a:endParaRP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8468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3. Unsere Angebote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</a:t>
            </a:r>
            <a:r>
              <a:rPr lang="de-DE" dirty="0" err="1" smtClean="0"/>
              <a:t>eefl</a:t>
            </a:r>
            <a:r>
              <a:rPr lang="de-DE" dirty="0" smtClean="0"/>
              <a:t> </a:t>
            </a:r>
            <a:r>
              <a:rPr lang="de-DE" dirty="0" err="1" smtClean="0"/>
              <a:t>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…richten sich an: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719998" y="2595541"/>
            <a:ext cx="6660000" cy="37800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Eltern</a:t>
            </a:r>
          </a:p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Kinder, Jugendliche und junge Erwachsene</a:t>
            </a:r>
          </a:p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a</a:t>
            </a:r>
            <a:r>
              <a:rPr lang="de-DE" dirty="0" smtClean="0"/>
              <a:t>ndere an der Erziehung beteiligte Personen</a:t>
            </a:r>
          </a:p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Paare</a:t>
            </a:r>
          </a:p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Erwachsene in Lebenskrisen</a:t>
            </a:r>
          </a:p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p</a:t>
            </a:r>
            <a:r>
              <a:rPr lang="de-DE" dirty="0" smtClean="0"/>
              <a:t>ädagogische Fachkräfte</a:t>
            </a:r>
          </a:p>
        </p:txBody>
      </p:sp>
    </p:spTree>
    <p:extLst>
      <p:ext uri="{BB962C8B-B14F-4D97-AF65-F5344CB8AC3E}">
        <p14:creationId xmlns:p14="http://schemas.microsoft.com/office/powerpoint/2010/main" val="333916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75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/>
          <p:cNvSpPr/>
          <p:nvPr/>
        </p:nvSpPr>
        <p:spPr>
          <a:xfrm rot="5400000">
            <a:off x="1063976" y="680087"/>
            <a:ext cx="1676400" cy="2278381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Freihandform 3"/>
          <p:cNvSpPr/>
          <p:nvPr/>
        </p:nvSpPr>
        <p:spPr>
          <a:xfrm rot="16200000">
            <a:off x="4366197" y="933176"/>
            <a:ext cx="1676400" cy="1771651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/>
          <p:cNvSpPr/>
          <p:nvPr/>
        </p:nvSpPr>
        <p:spPr>
          <a:xfrm rot="10800000">
            <a:off x="2546921" y="2657202"/>
            <a:ext cx="1771650" cy="167640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Freihandform 5"/>
          <p:cNvSpPr/>
          <p:nvPr/>
        </p:nvSpPr>
        <p:spPr>
          <a:xfrm rot="5400000">
            <a:off x="2597683" y="933357"/>
            <a:ext cx="2183131" cy="2278019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7" name="Freihandform 6"/>
          <p:cNvSpPr/>
          <p:nvPr/>
        </p:nvSpPr>
        <p:spPr>
          <a:xfrm rot="10800000">
            <a:off x="771696" y="2150610"/>
            <a:ext cx="2278380" cy="2689860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8" name="Freihandform 7"/>
          <p:cNvSpPr/>
          <p:nvPr/>
        </p:nvSpPr>
        <p:spPr>
          <a:xfrm rot="10800000">
            <a:off x="3813630" y="4342585"/>
            <a:ext cx="2278380" cy="1676400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 rot="16200000">
            <a:off x="3621156" y="2360906"/>
            <a:ext cx="2663330" cy="2278380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Freihandform 9"/>
          <p:cNvSpPr/>
          <p:nvPr/>
        </p:nvSpPr>
        <p:spPr>
          <a:xfrm rot="16200000">
            <a:off x="825462" y="4285977"/>
            <a:ext cx="1676401" cy="1771651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Freihandform 10"/>
          <p:cNvSpPr/>
          <p:nvPr/>
        </p:nvSpPr>
        <p:spPr>
          <a:xfrm>
            <a:off x="2053255" y="3835855"/>
            <a:ext cx="2278380" cy="2183130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3041367" y="3326124"/>
            <a:ext cx="7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   BU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3053452" y="1608843"/>
            <a:ext cx="1537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773612" y="1466211"/>
            <a:ext cx="1508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äventions-arbei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428659" y="4830411"/>
            <a:ext cx="161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he- und Paar-beratung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19999" y="3291840"/>
            <a:ext cx="209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2100929" y="4982485"/>
            <a:ext cx="236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719999" y="485351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rziehungs- </a:t>
            </a:r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4382549" y="3035625"/>
            <a:ext cx="207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rennungs- und Scheidungs-</a:t>
            </a:r>
          </a:p>
          <a:p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4731322" y="1491803"/>
            <a:ext cx="1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762985" y="437062"/>
            <a:ext cx="527676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b="1" dirty="0" smtClean="0">
                <a:solidFill>
                  <a:srgbClr val="FF0000"/>
                </a:solidFill>
              </a:rPr>
              <a:t>Im Einzelnen sind das:</a:t>
            </a:r>
            <a:endParaRPr lang="de-DE" sz="25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383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0920" y="1086626"/>
            <a:ext cx="4536000" cy="384721"/>
          </a:xfrm>
        </p:spPr>
        <p:txBody>
          <a:bodyPr/>
          <a:lstStyle/>
          <a:p>
            <a:r>
              <a:rPr lang="de-DE" dirty="0" smtClean="0"/>
              <a:t>Erziehungsbera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3648888" y="2144797"/>
            <a:ext cx="5164183" cy="412371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wenn Ihr Kind häufig traurig, ungewöhnlich trotzig oder im Verhalten schwierig i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wenn sich Ihr Kind zurückzieht und Kontakte zu anderen meid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wenn Sie </a:t>
            </a:r>
            <a:r>
              <a:rPr lang="de-DE" dirty="0"/>
              <a:t>F</a:t>
            </a:r>
            <a:r>
              <a:rPr lang="de-DE" dirty="0" smtClean="0"/>
              <a:t>ragen zur Entwicklung Ihres Kindes haben oder sich Sorgen mach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bei Schulproblem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62980" y="1422380"/>
            <a:ext cx="4536000" cy="292388"/>
          </a:xfrm>
        </p:spPr>
        <p:txBody>
          <a:bodyPr/>
          <a:lstStyle/>
          <a:p>
            <a:r>
              <a:rPr lang="de-DE" dirty="0" smtClean="0"/>
              <a:t>Wann können wir Hilfe anbieten?</a:t>
            </a:r>
            <a:endParaRPr lang="de-DE" dirty="0"/>
          </a:p>
        </p:txBody>
      </p:sp>
      <p:sp>
        <p:nvSpPr>
          <p:cNvPr id="13" name="Freihandform 12"/>
          <p:cNvSpPr/>
          <p:nvPr/>
        </p:nvSpPr>
        <p:spPr>
          <a:xfrm rot="16200000">
            <a:off x="5593397" y="4314102"/>
            <a:ext cx="2273803" cy="2545757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5527087" y="5156093"/>
            <a:ext cx="204370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Erziehungs- </a:t>
            </a:r>
            <a:r>
              <a:rPr lang="de-DE" sz="2500" dirty="0" err="1" smtClean="0"/>
              <a:t>beratung</a:t>
            </a:r>
            <a:endParaRPr lang="de-DE" sz="25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29741" y="2147812"/>
            <a:ext cx="4410720" cy="3329396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9225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75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3" grpId="0" animBg="1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0920" y="1086626"/>
            <a:ext cx="4536000" cy="384721"/>
          </a:xfrm>
        </p:spPr>
        <p:txBody>
          <a:bodyPr/>
          <a:lstStyle/>
          <a:p>
            <a:r>
              <a:rPr lang="de-DE" dirty="0" smtClean="0"/>
              <a:t>Erziehungsbera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3648888" y="2301820"/>
            <a:ext cx="5164183" cy="412371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b</a:t>
            </a:r>
            <a:r>
              <a:rPr lang="de-DE" dirty="0" smtClean="0"/>
              <a:t>ei Fragen zur Pubertä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in Konflikt- oder Krisensituationen der Famili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wenn Sie mit Fachleuten über allgemeine</a:t>
            </a:r>
          </a:p>
          <a:p>
            <a:r>
              <a:rPr lang="de-DE" dirty="0"/>
              <a:t>     Erziehungsfragen reden wol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962980" y="1422380"/>
            <a:ext cx="4536000" cy="292388"/>
          </a:xfrm>
        </p:spPr>
        <p:txBody>
          <a:bodyPr/>
          <a:lstStyle/>
          <a:p>
            <a:r>
              <a:rPr lang="de-DE" dirty="0" smtClean="0"/>
              <a:t>Wann können wir Hilfe anbieten?</a:t>
            </a:r>
            <a:endParaRPr lang="de-DE" dirty="0"/>
          </a:p>
        </p:txBody>
      </p:sp>
      <p:sp>
        <p:nvSpPr>
          <p:cNvPr id="13" name="Freihandform 12"/>
          <p:cNvSpPr/>
          <p:nvPr/>
        </p:nvSpPr>
        <p:spPr>
          <a:xfrm rot="16200000">
            <a:off x="5593397" y="4314102"/>
            <a:ext cx="2273803" cy="2545757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Textfeld 13"/>
          <p:cNvSpPr txBox="1"/>
          <p:nvPr/>
        </p:nvSpPr>
        <p:spPr>
          <a:xfrm>
            <a:off x="5527087" y="5156093"/>
            <a:ext cx="204370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Erziehungs- </a:t>
            </a:r>
            <a:r>
              <a:rPr lang="de-DE" sz="2500" dirty="0" err="1" smtClean="0"/>
              <a:t>beratung</a:t>
            </a:r>
            <a:endParaRPr lang="de-DE" sz="25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43979" y="2162048"/>
            <a:ext cx="4439195" cy="3329396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4207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75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3" grpId="0" animBg="1"/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/>
          <p:cNvSpPr/>
          <p:nvPr/>
        </p:nvSpPr>
        <p:spPr>
          <a:xfrm rot="5400000">
            <a:off x="1063976" y="680087"/>
            <a:ext cx="1676400" cy="2278381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Freihandform 3"/>
          <p:cNvSpPr/>
          <p:nvPr/>
        </p:nvSpPr>
        <p:spPr>
          <a:xfrm rot="16200000">
            <a:off x="4366197" y="933176"/>
            <a:ext cx="1676400" cy="1771651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/>
          <p:cNvSpPr/>
          <p:nvPr/>
        </p:nvSpPr>
        <p:spPr>
          <a:xfrm rot="10800000">
            <a:off x="2546921" y="2657202"/>
            <a:ext cx="1771650" cy="167640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Freihandform 5"/>
          <p:cNvSpPr/>
          <p:nvPr/>
        </p:nvSpPr>
        <p:spPr>
          <a:xfrm rot="5400000">
            <a:off x="2597683" y="933357"/>
            <a:ext cx="2183131" cy="2278019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7" name="Freihandform 6"/>
          <p:cNvSpPr/>
          <p:nvPr/>
        </p:nvSpPr>
        <p:spPr>
          <a:xfrm rot="10800000">
            <a:off x="771696" y="2150610"/>
            <a:ext cx="2278380" cy="2689860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8" name="Freihandform 7"/>
          <p:cNvSpPr/>
          <p:nvPr/>
        </p:nvSpPr>
        <p:spPr>
          <a:xfrm rot="10800000">
            <a:off x="3813630" y="4342585"/>
            <a:ext cx="2278380" cy="1676400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 rot="16200000">
            <a:off x="3621156" y="2360906"/>
            <a:ext cx="2663330" cy="2278380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Freihandform 9"/>
          <p:cNvSpPr/>
          <p:nvPr/>
        </p:nvSpPr>
        <p:spPr>
          <a:xfrm rot="16200000">
            <a:off x="825462" y="4285977"/>
            <a:ext cx="1676401" cy="1771651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Freihandform 10"/>
          <p:cNvSpPr/>
          <p:nvPr/>
        </p:nvSpPr>
        <p:spPr>
          <a:xfrm>
            <a:off x="2053255" y="3835855"/>
            <a:ext cx="2278380" cy="2183130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3041367" y="3326124"/>
            <a:ext cx="7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   BU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3053452" y="1608843"/>
            <a:ext cx="1537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773612" y="1466211"/>
            <a:ext cx="1516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äventions-arbei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428659" y="4830411"/>
            <a:ext cx="161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he- und Paar-beratung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19999" y="3291840"/>
            <a:ext cx="209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2100929" y="4982485"/>
            <a:ext cx="236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719999" y="485351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rziehungs- </a:t>
            </a:r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4382549" y="3035625"/>
            <a:ext cx="207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rennungs- und Scheidungs-</a:t>
            </a:r>
          </a:p>
          <a:p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4731322" y="1491803"/>
            <a:ext cx="1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9576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he- und Paarbera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719998" y="2143625"/>
            <a:ext cx="4536000" cy="69885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in Konflikt- und Krisensituationen auf Paar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Wann können wir Hilfe anbieten?</a:t>
            </a:r>
            <a:endParaRPr lang="de-DE" dirty="0"/>
          </a:p>
        </p:txBody>
      </p:sp>
      <p:sp>
        <p:nvSpPr>
          <p:cNvPr id="9" name="Freihandform 8"/>
          <p:cNvSpPr/>
          <p:nvPr/>
        </p:nvSpPr>
        <p:spPr>
          <a:xfrm rot="10800000">
            <a:off x="5674009" y="1371397"/>
            <a:ext cx="3156481" cy="2427592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Textfeld 9"/>
          <p:cNvSpPr txBox="1"/>
          <p:nvPr/>
        </p:nvSpPr>
        <p:spPr>
          <a:xfrm>
            <a:off x="6426926" y="2154305"/>
            <a:ext cx="226422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Ehe- und Paarberatung</a:t>
            </a:r>
            <a:endParaRPr lang="de-DE" sz="25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97" y="2917371"/>
            <a:ext cx="4812745" cy="3383280"/>
          </a:xfrm>
          <a:prstGeom prst="rect">
            <a:avLst/>
          </a:prstGeom>
        </p:spPr>
      </p:pic>
      <p:sp>
        <p:nvSpPr>
          <p:cNvPr id="1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12" name="Textplatzhalter 4"/>
          <p:cNvSpPr txBox="1">
            <a:spLocks/>
          </p:cNvSpPr>
          <p:nvPr/>
        </p:nvSpPr>
        <p:spPr>
          <a:xfrm>
            <a:off x="5575849" y="4222224"/>
            <a:ext cx="3352799" cy="24267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 typeface="Wingdings" panose="05000000000000000000" pitchFamily="2" charset="2"/>
              <a:buNone/>
              <a:tabLst/>
              <a:defRPr lang="de-DE" sz="19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Char char="n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238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DE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marR="0" indent="-209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 Black" panose="020B0A04020102020204" pitchFamily="34" charset="0"/>
              <a:buChar char="−"/>
              <a:tabLst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Begleitung von familiären Entwicklungsphasen, die von neuen Heraus-forderungen geprägt si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2320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build="p"/>
      <p:bldP spid="7" grpId="0" build="p"/>
      <p:bldP spid="9" grpId="0" animBg="1"/>
      <p:bldP spid="10" grpId="0"/>
      <p:bldP spid="12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/>
          <p:cNvSpPr/>
          <p:nvPr/>
        </p:nvSpPr>
        <p:spPr>
          <a:xfrm rot="5400000">
            <a:off x="1063976" y="680087"/>
            <a:ext cx="1676400" cy="2278381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Freihandform 3"/>
          <p:cNvSpPr/>
          <p:nvPr/>
        </p:nvSpPr>
        <p:spPr>
          <a:xfrm rot="16200000">
            <a:off x="4366197" y="933176"/>
            <a:ext cx="1676400" cy="1771651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/>
          <p:cNvSpPr/>
          <p:nvPr/>
        </p:nvSpPr>
        <p:spPr>
          <a:xfrm rot="10800000">
            <a:off x="2546921" y="2657202"/>
            <a:ext cx="1771650" cy="167640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Freihandform 5"/>
          <p:cNvSpPr/>
          <p:nvPr/>
        </p:nvSpPr>
        <p:spPr>
          <a:xfrm rot="5400000">
            <a:off x="2597683" y="933357"/>
            <a:ext cx="2183131" cy="2278019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7" name="Freihandform 6"/>
          <p:cNvSpPr/>
          <p:nvPr/>
        </p:nvSpPr>
        <p:spPr>
          <a:xfrm rot="10800000">
            <a:off x="771696" y="2150610"/>
            <a:ext cx="2278380" cy="2689860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8" name="Freihandform 7"/>
          <p:cNvSpPr/>
          <p:nvPr/>
        </p:nvSpPr>
        <p:spPr>
          <a:xfrm rot="10800000">
            <a:off x="3813630" y="4342585"/>
            <a:ext cx="2278380" cy="1676400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 rot="16200000">
            <a:off x="3621156" y="2360906"/>
            <a:ext cx="2663330" cy="2278380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Freihandform 9"/>
          <p:cNvSpPr/>
          <p:nvPr/>
        </p:nvSpPr>
        <p:spPr>
          <a:xfrm rot="16200000">
            <a:off x="825462" y="4285977"/>
            <a:ext cx="1676401" cy="1771651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Freihandform 10"/>
          <p:cNvSpPr/>
          <p:nvPr/>
        </p:nvSpPr>
        <p:spPr>
          <a:xfrm>
            <a:off x="2053255" y="3835855"/>
            <a:ext cx="2278380" cy="2183130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3041367" y="3326124"/>
            <a:ext cx="7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   BU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3053452" y="1608843"/>
            <a:ext cx="1537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773613" y="1466211"/>
            <a:ext cx="15341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äventions-arbei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428659" y="4830411"/>
            <a:ext cx="161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he- und Paar-beratung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19999" y="3291840"/>
            <a:ext cx="209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2100929" y="4982485"/>
            <a:ext cx="236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719999" y="485351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rziehungs- </a:t>
            </a:r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4382549" y="3035625"/>
            <a:ext cx="207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rennungs- und Scheidungs-</a:t>
            </a:r>
          </a:p>
          <a:p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4731322" y="1491803"/>
            <a:ext cx="1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5032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1222427"/>
            <a:ext cx="5741760" cy="769441"/>
          </a:xfrm>
        </p:spPr>
        <p:txBody>
          <a:bodyPr/>
          <a:lstStyle/>
          <a:p>
            <a:r>
              <a:rPr lang="de-DE" dirty="0" smtClean="0"/>
              <a:t>Trennungs- und Scheidungsbera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717198" y="2143625"/>
            <a:ext cx="4647282" cy="63273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wenn Eltern sich trennen und für sich und die Kinder Unterstützung brauchen</a:t>
            </a:r>
            <a:r>
              <a:rPr lang="de-DE" dirty="0"/>
              <a:t> </a:t>
            </a: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u</a:t>
            </a:r>
            <a:r>
              <a:rPr lang="de-DE" dirty="0" smtClean="0"/>
              <a:t>m die Kindesinteressen im Elternkonflikt zu schütz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um die Eltern auch nach der Trennung in ihrer elterlichen Verantwortung zu stärk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Wann können wir Hilfe anbieten?</a:t>
            </a:r>
            <a:endParaRPr lang="de-DE" dirty="0"/>
          </a:p>
        </p:txBody>
      </p:sp>
      <p:sp>
        <p:nvSpPr>
          <p:cNvPr id="11" name="Freihandform 10"/>
          <p:cNvSpPr/>
          <p:nvPr/>
        </p:nvSpPr>
        <p:spPr>
          <a:xfrm rot="16200000">
            <a:off x="5489969" y="1685891"/>
            <a:ext cx="3431179" cy="3281564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6478787" y="2511065"/>
            <a:ext cx="207264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Trennungs- und Scheidungs-</a:t>
            </a:r>
          </a:p>
          <a:p>
            <a:r>
              <a:rPr lang="de-DE" sz="2500" dirty="0" err="1" smtClean="0"/>
              <a:t>beratung</a:t>
            </a:r>
            <a:endParaRPr lang="de-DE" sz="25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560" y="4182472"/>
            <a:ext cx="3109966" cy="220625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956124">
            <a:off x="4184324" y="4399033"/>
            <a:ext cx="2552797" cy="1914598"/>
          </a:xfrm>
          <a:prstGeom prst="rect">
            <a:avLst/>
          </a:prstGeom>
        </p:spPr>
      </p:pic>
      <p:sp>
        <p:nvSpPr>
          <p:cNvPr id="1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9230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 animBg="1"/>
      <p:bldP spid="1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/>
          <p:cNvSpPr/>
          <p:nvPr/>
        </p:nvSpPr>
        <p:spPr>
          <a:xfrm rot="5400000">
            <a:off x="1063976" y="680087"/>
            <a:ext cx="1676400" cy="2278381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Freihandform 3"/>
          <p:cNvSpPr/>
          <p:nvPr/>
        </p:nvSpPr>
        <p:spPr>
          <a:xfrm rot="16200000">
            <a:off x="4366197" y="933176"/>
            <a:ext cx="1676400" cy="1771651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/>
          <p:cNvSpPr/>
          <p:nvPr/>
        </p:nvSpPr>
        <p:spPr>
          <a:xfrm rot="10800000">
            <a:off x="2546921" y="2657202"/>
            <a:ext cx="1771650" cy="167640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Freihandform 5"/>
          <p:cNvSpPr/>
          <p:nvPr/>
        </p:nvSpPr>
        <p:spPr>
          <a:xfrm rot="5400000">
            <a:off x="2597683" y="933357"/>
            <a:ext cx="2183131" cy="2278019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7" name="Freihandform 6"/>
          <p:cNvSpPr/>
          <p:nvPr/>
        </p:nvSpPr>
        <p:spPr>
          <a:xfrm rot="10800000">
            <a:off x="771696" y="2150610"/>
            <a:ext cx="2278380" cy="2689860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8" name="Freihandform 7"/>
          <p:cNvSpPr/>
          <p:nvPr/>
        </p:nvSpPr>
        <p:spPr>
          <a:xfrm rot="10800000">
            <a:off x="3813630" y="4342585"/>
            <a:ext cx="2278380" cy="1676400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 rot="16200000">
            <a:off x="3621156" y="2360906"/>
            <a:ext cx="2663330" cy="2278380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Freihandform 9"/>
          <p:cNvSpPr/>
          <p:nvPr/>
        </p:nvSpPr>
        <p:spPr>
          <a:xfrm rot="16200000">
            <a:off x="825462" y="4285977"/>
            <a:ext cx="1676401" cy="1771651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Freihandform 10"/>
          <p:cNvSpPr/>
          <p:nvPr/>
        </p:nvSpPr>
        <p:spPr>
          <a:xfrm>
            <a:off x="2053255" y="3835855"/>
            <a:ext cx="2278380" cy="2183130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3041367" y="3326124"/>
            <a:ext cx="7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   BU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3053452" y="1608843"/>
            <a:ext cx="1537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773612" y="1466211"/>
            <a:ext cx="1516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äventions-arbei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428659" y="4830411"/>
            <a:ext cx="161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he- und Paar-beratung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19999" y="3291840"/>
            <a:ext cx="209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2100929" y="4982485"/>
            <a:ext cx="236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719999" y="485351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rziehungs- </a:t>
            </a:r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4382549" y="3035625"/>
            <a:ext cx="207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rennungs- und Scheidungs-</a:t>
            </a:r>
          </a:p>
          <a:p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4731322" y="1491803"/>
            <a:ext cx="1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4054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3">
            <a:extLst>
              <a:ext uri="{FF2B5EF4-FFF2-40B4-BE49-F238E27FC236}">
                <a16:creationId xmlns:a16="http://schemas.microsoft.com/office/drawing/2014/main" id="{4FC7C184-A833-4AA4-9A38-7D5C04D2F5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haltsverzeichnis</a:t>
            </a:r>
            <a:endParaRPr lang="de-DE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32C860D-964A-4581-B51A-BF22CA3C35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7550" y="540214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03B9431-031D-4F23-B2F6-7FCACDFCE5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0000" y="1805527"/>
            <a:ext cx="3512896" cy="769441"/>
          </a:xfrm>
        </p:spPr>
        <p:txBody>
          <a:bodyPr/>
          <a:lstStyle/>
          <a:p>
            <a:pPr lvl="0"/>
            <a:endParaRPr lang="de-DE" dirty="0" smtClean="0"/>
          </a:p>
          <a:p>
            <a:pPr lvl="0"/>
            <a:r>
              <a:rPr lang="de-DE" dirty="0" smtClean="0"/>
              <a:t>1</a:t>
            </a:r>
            <a:r>
              <a:rPr lang="de-DE" dirty="0"/>
              <a:t>. </a:t>
            </a:r>
            <a:r>
              <a:rPr lang="de-DE" dirty="0" smtClean="0"/>
              <a:t>Wir stellen uns vor</a:t>
            </a:r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9DD173CB-BBF7-4A73-ACDF-8D0B6F75124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7197" y="2976923"/>
            <a:ext cx="6824425" cy="1154162"/>
          </a:xfrm>
        </p:spPr>
        <p:txBody>
          <a:bodyPr/>
          <a:lstStyle/>
          <a:p>
            <a:pPr lvl="0"/>
            <a:endParaRPr lang="de-DE" dirty="0" smtClean="0"/>
          </a:p>
          <a:p>
            <a:r>
              <a:rPr lang="de-DE" dirty="0" smtClean="0"/>
              <a:t>2. Unsere </a:t>
            </a:r>
            <a:r>
              <a:rPr lang="de-DE" dirty="0"/>
              <a:t>Beratungsstelle</a:t>
            </a:r>
          </a:p>
          <a:p>
            <a:pPr lvl="0"/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83DB962-BC29-405C-8229-744D829FB5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197" y="4148319"/>
            <a:ext cx="3951056" cy="769441"/>
          </a:xfrm>
        </p:spPr>
        <p:txBody>
          <a:bodyPr/>
          <a:lstStyle/>
          <a:p>
            <a:pPr lvl="0"/>
            <a:endParaRPr lang="de-DE" dirty="0" smtClean="0"/>
          </a:p>
          <a:p>
            <a:pPr lvl="0"/>
            <a:r>
              <a:rPr lang="de-DE" dirty="0" smtClean="0"/>
              <a:t>3</a:t>
            </a:r>
            <a:r>
              <a:rPr lang="de-DE" dirty="0"/>
              <a:t>. Unsere Angebote</a:t>
            </a:r>
          </a:p>
        </p:txBody>
      </p:sp>
      <p:sp>
        <p:nvSpPr>
          <p:cNvPr id="14" name="Textplatzhalter 23">
            <a:extLst>
              <a:ext uri="{FF2B5EF4-FFF2-40B4-BE49-F238E27FC236}">
                <a16:creationId xmlns:a16="http://schemas.microsoft.com/office/drawing/2014/main" id="{483DB962-BC29-405C-8229-744D829FB5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197" y="5261930"/>
            <a:ext cx="3951056" cy="769441"/>
          </a:xfrm>
        </p:spPr>
        <p:txBody>
          <a:bodyPr/>
          <a:lstStyle/>
          <a:p>
            <a:pPr lvl="0"/>
            <a:endParaRPr lang="de-DE" dirty="0" smtClean="0"/>
          </a:p>
          <a:p>
            <a:pPr lvl="0"/>
            <a:r>
              <a:rPr lang="de-DE" dirty="0" smtClean="0"/>
              <a:t>4. Kontakt</a:t>
            </a:r>
            <a:endParaRPr lang="de-DE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2692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22" grpId="0" build="p"/>
      <p:bldP spid="24" grpId="0" build="p"/>
      <p:bldP spid="14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719998" y="2030411"/>
            <a:ext cx="4670608" cy="183160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nach traumatischen Lebensereignissen und/oder akuten Notla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in schwierigen Lebensphasen und bei Krisen oder krisenhaften Übergängen im Erwachsenenal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Wann können wir Hilfe anbieten?</a:t>
            </a:r>
            <a:endParaRPr lang="de-DE" dirty="0"/>
          </a:p>
        </p:txBody>
      </p:sp>
      <p:sp>
        <p:nvSpPr>
          <p:cNvPr id="11" name="Freihandform 10"/>
          <p:cNvSpPr/>
          <p:nvPr/>
        </p:nvSpPr>
        <p:spPr>
          <a:xfrm>
            <a:off x="5390606" y="1853197"/>
            <a:ext cx="3126377" cy="2971352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5390606" y="3406392"/>
            <a:ext cx="255161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Lebensberatung</a:t>
            </a:r>
            <a:endParaRPr lang="de-DE" sz="2500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02" y="4166912"/>
            <a:ext cx="3464447" cy="2147666"/>
          </a:xfrm>
          <a:prstGeom prst="rect">
            <a:avLst/>
          </a:prstGeom>
        </p:spPr>
      </p:pic>
      <p:sp>
        <p:nvSpPr>
          <p:cNvPr id="1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9854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 animBg="1"/>
      <p:bldP spid="1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/>
          <p:cNvSpPr/>
          <p:nvPr/>
        </p:nvSpPr>
        <p:spPr>
          <a:xfrm rot="5400000">
            <a:off x="1063976" y="680087"/>
            <a:ext cx="1676400" cy="2278381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Freihandform 3"/>
          <p:cNvSpPr/>
          <p:nvPr/>
        </p:nvSpPr>
        <p:spPr>
          <a:xfrm rot="16200000">
            <a:off x="4366197" y="933176"/>
            <a:ext cx="1676400" cy="1771651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/>
          <p:cNvSpPr/>
          <p:nvPr/>
        </p:nvSpPr>
        <p:spPr>
          <a:xfrm rot="10800000">
            <a:off x="2546921" y="2657202"/>
            <a:ext cx="1771650" cy="167640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Freihandform 5"/>
          <p:cNvSpPr/>
          <p:nvPr/>
        </p:nvSpPr>
        <p:spPr>
          <a:xfrm rot="5400000">
            <a:off x="2597683" y="933357"/>
            <a:ext cx="2183131" cy="2278019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7" name="Freihandform 6"/>
          <p:cNvSpPr/>
          <p:nvPr/>
        </p:nvSpPr>
        <p:spPr>
          <a:xfrm rot="10800000">
            <a:off x="771696" y="2150610"/>
            <a:ext cx="2278380" cy="2689860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8" name="Freihandform 7"/>
          <p:cNvSpPr/>
          <p:nvPr/>
        </p:nvSpPr>
        <p:spPr>
          <a:xfrm rot="10800000">
            <a:off x="3813630" y="4342585"/>
            <a:ext cx="2278380" cy="1676400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 rot="16200000">
            <a:off x="3621156" y="2360906"/>
            <a:ext cx="2663330" cy="2278380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Freihandform 9"/>
          <p:cNvSpPr/>
          <p:nvPr/>
        </p:nvSpPr>
        <p:spPr>
          <a:xfrm rot="16200000">
            <a:off x="825462" y="4285977"/>
            <a:ext cx="1676401" cy="1771651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Freihandform 10"/>
          <p:cNvSpPr/>
          <p:nvPr/>
        </p:nvSpPr>
        <p:spPr>
          <a:xfrm>
            <a:off x="2053255" y="3835855"/>
            <a:ext cx="2278380" cy="2183130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3041367" y="3326124"/>
            <a:ext cx="7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   BU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3053452" y="1608843"/>
            <a:ext cx="1537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773613" y="1466211"/>
            <a:ext cx="16271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äventions-arbei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428659" y="4830411"/>
            <a:ext cx="161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he- und Paar-beratung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19999" y="3291840"/>
            <a:ext cx="209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2100929" y="4982485"/>
            <a:ext cx="236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719999" y="485351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rziehungs- </a:t>
            </a:r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4382549" y="3035625"/>
            <a:ext cx="207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rennungs- und Scheidungs-</a:t>
            </a:r>
          </a:p>
          <a:p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4731322" y="1491803"/>
            <a:ext cx="1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517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gleiteter Umgang (BU)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719998" y="2143626"/>
            <a:ext cx="5288916" cy="73356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nach Empfehlung des Familiengerichts oder des Jugendamts und für Selbstmelder*inn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Realisierung begleiteter Umgang</a:t>
            </a:r>
            <a:endParaRPr lang="de-DE" dirty="0"/>
          </a:p>
        </p:txBody>
      </p:sp>
      <p:sp>
        <p:nvSpPr>
          <p:cNvPr id="11" name="Freihandform 10"/>
          <p:cNvSpPr/>
          <p:nvPr/>
        </p:nvSpPr>
        <p:spPr>
          <a:xfrm rot="10800000">
            <a:off x="6479177" y="1222426"/>
            <a:ext cx="2454936" cy="214779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7403821" y="1712739"/>
            <a:ext cx="77226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   BU</a:t>
            </a:r>
            <a:endParaRPr lang="de-DE" sz="2500" dirty="0"/>
          </a:p>
        </p:txBody>
      </p:sp>
      <p:sp>
        <p:nvSpPr>
          <p:cNvPr id="10" name="Textplatzhalter 6"/>
          <p:cNvSpPr txBox="1">
            <a:spLocks/>
          </p:cNvSpPr>
          <p:nvPr/>
        </p:nvSpPr>
        <p:spPr>
          <a:xfrm>
            <a:off x="717198" y="3167622"/>
            <a:ext cx="4536000" cy="292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 typeface="Wingdings" panose="05000000000000000000" pitchFamily="2" charset="2"/>
              <a:buNone/>
              <a:tabLst/>
              <a:defRPr lang="de-DE" sz="1900" b="1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Char char="n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238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Pct val="100000"/>
              <a:buFont typeface="Wingdings" panose="05000000000000000000" pitchFamily="2" charset="2"/>
              <a:buChar char="§"/>
              <a:tabLst/>
              <a:defRPr lang="de-DE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marR="0" indent="-209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Pct val="100000"/>
              <a:buFont typeface="Arial Black" panose="020B0A04020102020204" pitchFamily="34" charset="0"/>
              <a:buChar char="−"/>
              <a:tabLst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Ziele des begleiteten Umgangs</a:t>
            </a:r>
            <a:endParaRPr lang="de-DE" dirty="0"/>
          </a:p>
        </p:txBody>
      </p:sp>
      <p:sp>
        <p:nvSpPr>
          <p:cNvPr id="13" name="Textplatzhalter 4"/>
          <p:cNvSpPr txBox="1">
            <a:spLocks/>
          </p:cNvSpPr>
          <p:nvPr/>
        </p:nvSpPr>
        <p:spPr>
          <a:xfrm>
            <a:off x="717198" y="3466889"/>
            <a:ext cx="4081225" cy="733568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 typeface="Wingdings" panose="05000000000000000000" pitchFamily="2" charset="2"/>
              <a:buNone/>
              <a:tabLst/>
              <a:defRPr lang="de-DE" sz="19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Char char="n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238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DE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marR="0" indent="-209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 Black" panose="020B0A04020102020204" pitchFamily="34" charset="0"/>
              <a:buChar char="−"/>
              <a:tabLst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Aufbau und Erhalt des Eltern- Kind-Kontaktes zum getrenntlebenden Elterntei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Stärkung der Kommunikation der Elter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Eltern unterstützen, zukünftig selbstständig den Umgang zu regel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8857" y="2748820"/>
            <a:ext cx="2165486" cy="3900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288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750"/>
                            </p:stCondLst>
                            <p:childTnLst>
                              <p:par>
                                <p:cTn id="5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5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75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75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 animBg="1"/>
      <p:bldP spid="1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/>
          <p:cNvSpPr/>
          <p:nvPr/>
        </p:nvSpPr>
        <p:spPr>
          <a:xfrm rot="5400000">
            <a:off x="1063976" y="680087"/>
            <a:ext cx="1676400" cy="2278381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Freihandform 3"/>
          <p:cNvSpPr/>
          <p:nvPr/>
        </p:nvSpPr>
        <p:spPr>
          <a:xfrm rot="16200000">
            <a:off x="4366197" y="933176"/>
            <a:ext cx="1676400" cy="1771651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/>
          <p:cNvSpPr/>
          <p:nvPr/>
        </p:nvSpPr>
        <p:spPr>
          <a:xfrm rot="10800000">
            <a:off x="2546921" y="2657202"/>
            <a:ext cx="1771650" cy="167640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Freihandform 5"/>
          <p:cNvSpPr/>
          <p:nvPr/>
        </p:nvSpPr>
        <p:spPr>
          <a:xfrm rot="5400000">
            <a:off x="2597683" y="933357"/>
            <a:ext cx="2183131" cy="2278019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7" name="Freihandform 6"/>
          <p:cNvSpPr/>
          <p:nvPr/>
        </p:nvSpPr>
        <p:spPr>
          <a:xfrm rot="10800000">
            <a:off x="771696" y="2150610"/>
            <a:ext cx="2278380" cy="2689860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8" name="Freihandform 7"/>
          <p:cNvSpPr/>
          <p:nvPr/>
        </p:nvSpPr>
        <p:spPr>
          <a:xfrm rot="10800000">
            <a:off x="3813630" y="4342585"/>
            <a:ext cx="2278380" cy="1676400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 rot="16200000">
            <a:off x="3621156" y="2360906"/>
            <a:ext cx="2663330" cy="2278380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Freihandform 9"/>
          <p:cNvSpPr/>
          <p:nvPr/>
        </p:nvSpPr>
        <p:spPr>
          <a:xfrm rot="16200000">
            <a:off x="825462" y="4285977"/>
            <a:ext cx="1676401" cy="1771651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Freihandform 10"/>
          <p:cNvSpPr/>
          <p:nvPr/>
        </p:nvSpPr>
        <p:spPr>
          <a:xfrm>
            <a:off x="2053255" y="3835855"/>
            <a:ext cx="2278380" cy="2183130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3041367" y="3326124"/>
            <a:ext cx="7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   BU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3053452" y="1608843"/>
            <a:ext cx="1537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773612" y="1466211"/>
            <a:ext cx="1516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äventions-arbei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428659" y="4830411"/>
            <a:ext cx="161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he- und Paar-beratung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19999" y="3291840"/>
            <a:ext cx="209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2100929" y="4982485"/>
            <a:ext cx="236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719999" y="485351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rziehungs- </a:t>
            </a:r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4382549" y="3035625"/>
            <a:ext cx="207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rennungs- und Scheidungs-</a:t>
            </a:r>
          </a:p>
          <a:p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4731322" y="1491803"/>
            <a:ext cx="1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4138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43840" y="1772619"/>
            <a:ext cx="5747656" cy="180661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für Väter, Mütter sowie pflegende Angehöri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Hilfe bei Antragsverfahren und Zusammenarbeit mit der Krankenkasse, Klinikauswah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Infos zu Angeboten der verschiedenen Häuser und Möglichkeiten für die Zeit nach der Kur</a:t>
            </a:r>
          </a:p>
          <a:p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225" y="3421242"/>
            <a:ext cx="5224886" cy="2738383"/>
          </a:xfrm>
          <a:prstGeom prst="rect">
            <a:avLst/>
          </a:prstGeom>
        </p:spPr>
      </p:pic>
      <p:sp>
        <p:nvSpPr>
          <p:cNvPr id="11" name="Freihandform 10"/>
          <p:cNvSpPr/>
          <p:nvPr/>
        </p:nvSpPr>
        <p:spPr>
          <a:xfrm rot="5400000">
            <a:off x="6097613" y="1116314"/>
            <a:ext cx="2835767" cy="3048000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6688183" y="2040438"/>
            <a:ext cx="202909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Kurberatung</a:t>
            </a:r>
            <a:endParaRPr lang="de-DE" sz="2500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0492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 animBg="1"/>
      <p:bldP spid="1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/>
          <p:cNvSpPr/>
          <p:nvPr/>
        </p:nvSpPr>
        <p:spPr>
          <a:xfrm rot="5400000">
            <a:off x="1063976" y="680087"/>
            <a:ext cx="1676400" cy="2278381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Freihandform 3"/>
          <p:cNvSpPr/>
          <p:nvPr/>
        </p:nvSpPr>
        <p:spPr>
          <a:xfrm rot="16200000">
            <a:off x="4366197" y="933176"/>
            <a:ext cx="1676400" cy="1771651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/>
          <p:cNvSpPr/>
          <p:nvPr/>
        </p:nvSpPr>
        <p:spPr>
          <a:xfrm rot="10800000">
            <a:off x="2546921" y="2657202"/>
            <a:ext cx="1771650" cy="167640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Freihandform 5"/>
          <p:cNvSpPr/>
          <p:nvPr/>
        </p:nvSpPr>
        <p:spPr>
          <a:xfrm rot="5400000">
            <a:off x="2597683" y="933357"/>
            <a:ext cx="2183131" cy="2278019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7" name="Freihandform 6"/>
          <p:cNvSpPr/>
          <p:nvPr/>
        </p:nvSpPr>
        <p:spPr>
          <a:xfrm rot="10800000">
            <a:off x="771696" y="2150610"/>
            <a:ext cx="2278380" cy="2689860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8" name="Freihandform 7"/>
          <p:cNvSpPr/>
          <p:nvPr/>
        </p:nvSpPr>
        <p:spPr>
          <a:xfrm rot="10800000">
            <a:off x="3813630" y="4342585"/>
            <a:ext cx="2278380" cy="1676400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 rot="16200000">
            <a:off x="3621156" y="2360906"/>
            <a:ext cx="2663330" cy="2278380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Freihandform 9"/>
          <p:cNvSpPr/>
          <p:nvPr/>
        </p:nvSpPr>
        <p:spPr>
          <a:xfrm rot="16200000">
            <a:off x="825462" y="4285977"/>
            <a:ext cx="1676401" cy="1771651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Freihandform 10"/>
          <p:cNvSpPr/>
          <p:nvPr/>
        </p:nvSpPr>
        <p:spPr>
          <a:xfrm>
            <a:off x="2053255" y="3835855"/>
            <a:ext cx="2278380" cy="2183130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3041367" y="3326124"/>
            <a:ext cx="7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   BU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3053452" y="1608843"/>
            <a:ext cx="1537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773613" y="1466211"/>
            <a:ext cx="14993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äventions-arbei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428659" y="4830411"/>
            <a:ext cx="161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he- und Paar-beratung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19999" y="3291840"/>
            <a:ext cx="209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2100929" y="4982485"/>
            <a:ext cx="236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719999" y="485351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rziehungs- </a:t>
            </a:r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4382549" y="3035625"/>
            <a:ext cx="207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rennungs- und Scheidungs-</a:t>
            </a:r>
          </a:p>
          <a:p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4731322" y="1491803"/>
            <a:ext cx="1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9651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720000" y="1853198"/>
            <a:ext cx="4853486" cy="292388"/>
          </a:xfrm>
        </p:spPr>
        <p:txBody>
          <a:bodyPr/>
          <a:lstStyle/>
          <a:p>
            <a:r>
              <a:rPr lang="de-DE" dirty="0" smtClean="0"/>
              <a:t>Trennungs- und Scheidungskindergruppe</a:t>
            </a:r>
            <a:endParaRPr lang="de-DE" dirty="0"/>
          </a:p>
        </p:txBody>
      </p:sp>
      <p:sp>
        <p:nvSpPr>
          <p:cNvPr id="11" name="Freihandform 10"/>
          <p:cNvSpPr/>
          <p:nvPr/>
        </p:nvSpPr>
        <p:spPr>
          <a:xfrm rot="10800000">
            <a:off x="5843451" y="1222426"/>
            <a:ext cx="2995837" cy="3313967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5843451" y="2640882"/>
            <a:ext cx="274320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Gruppenangebote</a:t>
            </a:r>
            <a:endParaRPr lang="de-DE" sz="25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571" y="2336652"/>
            <a:ext cx="4070306" cy="352710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761" y="3514646"/>
            <a:ext cx="2368730" cy="2757081"/>
          </a:xfrm>
          <a:prstGeom prst="rect">
            <a:avLst/>
          </a:prstGeom>
        </p:spPr>
      </p:pic>
      <p:sp>
        <p:nvSpPr>
          <p:cNvPr id="13" name="Textplatzhalter 4"/>
          <p:cNvSpPr txBox="1">
            <a:spLocks/>
          </p:cNvSpPr>
          <p:nvPr/>
        </p:nvSpPr>
        <p:spPr>
          <a:xfrm>
            <a:off x="5843451" y="4541387"/>
            <a:ext cx="3070230" cy="214679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 typeface="Wingdings" panose="05000000000000000000" pitchFamily="2" charset="2"/>
              <a:buNone/>
              <a:tabLst/>
              <a:defRPr lang="de-DE" sz="19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Char char="n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238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DE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marR="0" indent="-209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 Black" panose="020B0A04020102020204" pitchFamily="34" charset="0"/>
              <a:buChar char="−"/>
              <a:tabLst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für Kinder zwischen 6 </a:t>
            </a:r>
          </a:p>
          <a:p>
            <a:r>
              <a:rPr lang="de-DE" dirty="0"/>
              <a:t> </a:t>
            </a:r>
            <a:r>
              <a:rPr lang="de-DE" dirty="0" smtClean="0"/>
              <a:t>    und 10 Jahren, deren</a:t>
            </a:r>
          </a:p>
          <a:p>
            <a:r>
              <a:rPr lang="de-DE" dirty="0" smtClean="0"/>
              <a:t>     Eltern getrennt oder</a:t>
            </a:r>
          </a:p>
          <a:p>
            <a:r>
              <a:rPr lang="de-DE" dirty="0"/>
              <a:t> </a:t>
            </a:r>
            <a:r>
              <a:rPr lang="de-DE" dirty="0" smtClean="0"/>
              <a:t>    geschieden si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i</a:t>
            </a:r>
            <a:r>
              <a:rPr lang="de-DE" dirty="0" smtClean="0"/>
              <a:t>nsgesamt 9 Treffen, die 1x wöchentlich stattfin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713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500"/>
                            </p:stCondLst>
                            <p:childTnLst>
                              <p:par>
                                <p:cTn id="4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75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25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25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 build="p"/>
      <p:bldP spid="11" grpId="0" animBg="1"/>
      <p:bldP spid="1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/>
          <p:cNvSpPr/>
          <p:nvPr/>
        </p:nvSpPr>
        <p:spPr>
          <a:xfrm rot="5400000">
            <a:off x="1063976" y="680087"/>
            <a:ext cx="1676400" cy="2278381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Freihandform 3"/>
          <p:cNvSpPr/>
          <p:nvPr/>
        </p:nvSpPr>
        <p:spPr>
          <a:xfrm rot="16200000">
            <a:off x="4366197" y="933176"/>
            <a:ext cx="1676400" cy="1771651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/>
          <p:cNvSpPr/>
          <p:nvPr/>
        </p:nvSpPr>
        <p:spPr>
          <a:xfrm rot="10800000">
            <a:off x="2546921" y="2657202"/>
            <a:ext cx="1771650" cy="167640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Freihandform 5"/>
          <p:cNvSpPr/>
          <p:nvPr/>
        </p:nvSpPr>
        <p:spPr>
          <a:xfrm rot="5400000">
            <a:off x="2597683" y="933357"/>
            <a:ext cx="2183131" cy="2278019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7" name="Freihandform 6"/>
          <p:cNvSpPr/>
          <p:nvPr/>
        </p:nvSpPr>
        <p:spPr>
          <a:xfrm rot="10800000">
            <a:off x="771696" y="2150610"/>
            <a:ext cx="2278380" cy="2689860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8" name="Freihandform 7"/>
          <p:cNvSpPr/>
          <p:nvPr/>
        </p:nvSpPr>
        <p:spPr>
          <a:xfrm rot="10800000">
            <a:off x="3813630" y="4342585"/>
            <a:ext cx="2278380" cy="1676400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 rot="16200000">
            <a:off x="3621156" y="2360906"/>
            <a:ext cx="2663330" cy="2278380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Freihandform 9"/>
          <p:cNvSpPr/>
          <p:nvPr/>
        </p:nvSpPr>
        <p:spPr>
          <a:xfrm rot="16200000">
            <a:off x="825462" y="4285977"/>
            <a:ext cx="1676401" cy="1771651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Freihandform 10"/>
          <p:cNvSpPr/>
          <p:nvPr/>
        </p:nvSpPr>
        <p:spPr>
          <a:xfrm>
            <a:off x="2053255" y="3835855"/>
            <a:ext cx="2278380" cy="2183130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3041367" y="3326124"/>
            <a:ext cx="7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   BU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3053452" y="1608843"/>
            <a:ext cx="1537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773613" y="1466211"/>
            <a:ext cx="16271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äventions-arbei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428659" y="4830411"/>
            <a:ext cx="161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he- und Paar-beratung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19999" y="3291840"/>
            <a:ext cx="209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2100929" y="4982485"/>
            <a:ext cx="236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719999" y="485351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rziehungs- </a:t>
            </a:r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4382549" y="3035625"/>
            <a:ext cx="207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rennungs- und Scheidungs-</a:t>
            </a:r>
          </a:p>
          <a:p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4731322" y="1491803"/>
            <a:ext cx="1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6814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äventionsarbei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720000" y="2639546"/>
            <a:ext cx="4536000" cy="56937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ein 3- tägiges Schulprojekt für die Klassen 9-1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Themen wie: Sexualität, Verhütung, Gewalt und Partnerschaf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zur Vermittlung einer verantwortlichen Elternscha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zur Prävention von Belastung und Überforder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zur Hilfestellung für eine kompetente Lebens- und Berufsplan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Projekt „Baby, und was nun?!“</a:t>
            </a:r>
            <a:endParaRPr lang="de-DE" dirty="0"/>
          </a:p>
        </p:txBody>
      </p:sp>
      <p:sp>
        <p:nvSpPr>
          <p:cNvPr id="10" name="Freihandform 9"/>
          <p:cNvSpPr/>
          <p:nvPr/>
        </p:nvSpPr>
        <p:spPr>
          <a:xfrm rot="5400000">
            <a:off x="6408852" y="4090886"/>
            <a:ext cx="2184362" cy="3042094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5977185" y="5365993"/>
            <a:ext cx="282437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Präventionsarbeit</a:t>
            </a:r>
            <a:endParaRPr lang="de-DE" sz="25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586302" y="1677177"/>
            <a:ext cx="3171895" cy="2378922"/>
          </a:xfrm>
          <a:prstGeom prst="rect">
            <a:avLst/>
          </a:prstGeom>
        </p:spPr>
      </p:pic>
      <p:sp>
        <p:nvSpPr>
          <p:cNvPr id="12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8425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750"/>
                            </p:stCondLst>
                            <p:childTnLst>
                              <p:par>
                                <p:cTn id="5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5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75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75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uiExpand="1" build="p"/>
      <p:bldP spid="7" grpId="0" build="p"/>
      <p:bldP spid="10" grpId="0" animBg="1"/>
      <p:bldP spid="1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äventionsarbei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717198" y="2573242"/>
            <a:ext cx="4536000" cy="56937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Schulprojekt rund um das Thema Sexualitä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ü</a:t>
            </a:r>
            <a:r>
              <a:rPr lang="de-DE" dirty="0" smtClean="0"/>
              <a:t>ber Sexualität ins Gespräch komm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Themen wie: Liebe, Schwangerschaft, Geburt, Veränderungen in der Pubertät, Freundschaft, Beziehungen, körperliche Entwicklungen und Gefühle, Verhütung, sexuell übertragbare Krankheiten, gleichgeschlechtliche Partnerschaften …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Sexual-Pädagogik (</a:t>
            </a:r>
            <a:r>
              <a:rPr lang="de-DE" dirty="0" err="1" smtClean="0"/>
              <a:t>Sex.Päd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10" name="Freihandform 9"/>
          <p:cNvSpPr/>
          <p:nvPr/>
        </p:nvSpPr>
        <p:spPr>
          <a:xfrm rot="5400000">
            <a:off x="6408852" y="4090886"/>
            <a:ext cx="2184362" cy="3042094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5977185" y="5365993"/>
            <a:ext cx="282437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Präventionsarbeit</a:t>
            </a:r>
            <a:endParaRPr lang="de-DE" sz="2500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3198" y="1527291"/>
            <a:ext cx="3548366" cy="2661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847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uiExpand="1" build="p"/>
      <p:bldP spid="7" grpId="0" build="p"/>
      <p:bldP spid="10" grpId="0" animBg="1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BFCD11C-50A7-4ACB-A4A5-7A3BF4C94E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717198" y="2719543"/>
            <a:ext cx="4745091" cy="568538"/>
          </a:xfrm>
        </p:spPr>
        <p:txBody>
          <a:bodyPr/>
          <a:lstStyle/>
          <a:p>
            <a:r>
              <a:rPr lang="de-DE" dirty="0" smtClean="0"/>
              <a:t>1. Wir stellen uns vor</a:t>
            </a:r>
            <a:endParaRPr lang="de-DE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6159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 2"/>
          <p:cNvSpPr/>
          <p:nvPr/>
        </p:nvSpPr>
        <p:spPr>
          <a:xfrm rot="5400000">
            <a:off x="1063976" y="680087"/>
            <a:ext cx="1676400" cy="2278381"/>
          </a:xfrm>
          <a:custGeom>
            <a:avLst/>
            <a:gdLst>
              <a:gd name="connsiteX0" fmla="*/ 0 w 1676400"/>
              <a:gd name="connsiteY0" fmla="*/ 2278381 h 2278381"/>
              <a:gd name="connsiteX1" fmla="*/ 0 w 1676400"/>
              <a:gd name="connsiteY1" fmla="*/ 506731 h 2278381"/>
              <a:gd name="connsiteX2" fmla="*/ 717463 w 1676400"/>
              <a:gd name="connsiteY2" fmla="*/ 506731 h 2278381"/>
              <a:gd name="connsiteX3" fmla="*/ 717463 w 1676400"/>
              <a:gd name="connsiteY3" fmla="*/ 349372 h 2278381"/>
              <a:gd name="connsiteX4" fmla="*/ 680260 w 1676400"/>
              <a:gd name="connsiteY4" fmla="*/ 327808 h 2278381"/>
              <a:gd name="connsiteX5" fmla="*/ 614838 w 1676400"/>
              <a:gd name="connsiteY5" fmla="*/ 192026 h 2278381"/>
              <a:gd name="connsiteX6" fmla="*/ 838201 w 1676400"/>
              <a:gd name="connsiteY6" fmla="*/ 0 h 2278381"/>
              <a:gd name="connsiteX7" fmla="*/ 1061565 w 1676400"/>
              <a:gd name="connsiteY7" fmla="*/ 192026 h 2278381"/>
              <a:gd name="connsiteX8" fmla="*/ 996144 w 1676400"/>
              <a:gd name="connsiteY8" fmla="*/ 327808 h 2278381"/>
              <a:gd name="connsiteX9" fmla="*/ 958937 w 1676400"/>
              <a:gd name="connsiteY9" fmla="*/ 349373 h 2278381"/>
              <a:gd name="connsiteX10" fmla="*/ 958937 w 1676400"/>
              <a:gd name="connsiteY10" fmla="*/ 506731 h 2278381"/>
              <a:gd name="connsiteX11" fmla="*/ 1676400 w 1676400"/>
              <a:gd name="connsiteY11" fmla="*/ 506731 h 2278381"/>
              <a:gd name="connsiteX12" fmla="*/ 1676400 w 1676400"/>
              <a:gd name="connsiteY12" fmla="*/ 1271821 h 2278381"/>
              <a:gd name="connsiteX13" fmla="*/ 1519043 w 1676400"/>
              <a:gd name="connsiteY13" fmla="*/ 1271821 h 2278381"/>
              <a:gd name="connsiteX14" fmla="*/ 1497478 w 1676400"/>
              <a:gd name="connsiteY14" fmla="*/ 1234613 h 2278381"/>
              <a:gd name="connsiteX15" fmla="*/ 1361696 w 1676400"/>
              <a:gd name="connsiteY15" fmla="*/ 1169193 h 2278381"/>
              <a:gd name="connsiteX16" fmla="*/ 1169671 w 1676400"/>
              <a:gd name="connsiteY16" fmla="*/ 1392556 h 2278381"/>
              <a:gd name="connsiteX17" fmla="*/ 1361695 w 1676400"/>
              <a:gd name="connsiteY17" fmla="*/ 1615920 h 2278381"/>
              <a:gd name="connsiteX18" fmla="*/ 1497477 w 1676400"/>
              <a:gd name="connsiteY18" fmla="*/ 1550498 h 2278381"/>
              <a:gd name="connsiteX19" fmla="*/ 1519042 w 1676400"/>
              <a:gd name="connsiteY19" fmla="*/ 1513295 h 2278381"/>
              <a:gd name="connsiteX20" fmla="*/ 1676400 w 1676400"/>
              <a:gd name="connsiteY20" fmla="*/ 1513295 h 2278381"/>
              <a:gd name="connsiteX21" fmla="*/ 1676400 w 1676400"/>
              <a:gd name="connsiteY21" fmla="*/ 2278381 h 2278381"/>
              <a:gd name="connsiteX22" fmla="*/ 0 w 1676400"/>
              <a:gd name="connsiteY22" fmla="*/ 2278381 h 227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676400" h="2278381">
                <a:moveTo>
                  <a:pt x="0" y="2278381"/>
                </a:moveTo>
                <a:lnTo>
                  <a:pt x="0" y="506731"/>
                </a:lnTo>
                <a:lnTo>
                  <a:pt x="717463" y="506731"/>
                </a:lnTo>
                <a:lnTo>
                  <a:pt x="717463" y="349372"/>
                </a:lnTo>
                <a:lnTo>
                  <a:pt x="680260" y="327808"/>
                </a:lnTo>
                <a:cubicBezTo>
                  <a:pt x="639839" y="293058"/>
                  <a:pt x="614838" y="245051"/>
                  <a:pt x="614838" y="192026"/>
                </a:cubicBezTo>
                <a:cubicBezTo>
                  <a:pt x="614838" y="85974"/>
                  <a:pt x="714841" y="0"/>
                  <a:pt x="838201" y="0"/>
                </a:cubicBezTo>
                <a:cubicBezTo>
                  <a:pt x="961561" y="0"/>
                  <a:pt x="1061565" y="85974"/>
                  <a:pt x="1061565" y="192026"/>
                </a:cubicBezTo>
                <a:cubicBezTo>
                  <a:pt x="1061565" y="245051"/>
                  <a:pt x="1036565" y="293058"/>
                  <a:pt x="996144" y="327808"/>
                </a:cubicBezTo>
                <a:lnTo>
                  <a:pt x="958937" y="349373"/>
                </a:lnTo>
                <a:lnTo>
                  <a:pt x="958937" y="506731"/>
                </a:lnTo>
                <a:lnTo>
                  <a:pt x="1676400" y="506731"/>
                </a:lnTo>
                <a:lnTo>
                  <a:pt x="1676400" y="1271821"/>
                </a:lnTo>
                <a:lnTo>
                  <a:pt x="1519043" y="1271821"/>
                </a:lnTo>
                <a:lnTo>
                  <a:pt x="1497478" y="1234613"/>
                </a:lnTo>
                <a:cubicBezTo>
                  <a:pt x="1462727" y="1194193"/>
                  <a:pt x="1414721" y="1169193"/>
                  <a:pt x="1361696" y="1169193"/>
                </a:cubicBezTo>
                <a:cubicBezTo>
                  <a:pt x="1255644" y="1169193"/>
                  <a:pt x="1169671" y="1269196"/>
                  <a:pt x="1169671" y="1392556"/>
                </a:cubicBezTo>
                <a:cubicBezTo>
                  <a:pt x="1169671" y="1515917"/>
                  <a:pt x="1255643" y="1615920"/>
                  <a:pt x="1361695" y="1615920"/>
                </a:cubicBezTo>
                <a:cubicBezTo>
                  <a:pt x="1414720" y="1615920"/>
                  <a:pt x="1462726" y="1590919"/>
                  <a:pt x="1497477" y="1550498"/>
                </a:cubicBezTo>
                <a:lnTo>
                  <a:pt x="1519042" y="1513295"/>
                </a:lnTo>
                <a:lnTo>
                  <a:pt x="1676400" y="1513295"/>
                </a:lnTo>
                <a:lnTo>
                  <a:pt x="1676400" y="2278381"/>
                </a:lnTo>
                <a:lnTo>
                  <a:pt x="0" y="2278381"/>
                </a:lnTo>
                <a:close/>
              </a:path>
            </a:pathLst>
          </a:cu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" name="Freihandform 3"/>
          <p:cNvSpPr/>
          <p:nvPr/>
        </p:nvSpPr>
        <p:spPr>
          <a:xfrm rot="16200000">
            <a:off x="4366197" y="933176"/>
            <a:ext cx="1676400" cy="1771651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" name="Freihandform 4"/>
          <p:cNvSpPr/>
          <p:nvPr/>
        </p:nvSpPr>
        <p:spPr>
          <a:xfrm rot="10800000">
            <a:off x="2546921" y="2657202"/>
            <a:ext cx="1771650" cy="1676400"/>
          </a:xfrm>
          <a:custGeom>
            <a:avLst/>
            <a:gdLst>
              <a:gd name="connsiteX0" fmla="*/ 1771650 w 1771650"/>
              <a:gd name="connsiteY0" fmla="*/ 1676400 h 1676400"/>
              <a:gd name="connsiteX1" fmla="*/ 1006561 w 1771650"/>
              <a:gd name="connsiteY1" fmla="*/ 1676400 h 1676400"/>
              <a:gd name="connsiteX2" fmla="*/ 1006561 w 1771650"/>
              <a:gd name="connsiteY2" fmla="*/ 1519042 h 1676400"/>
              <a:gd name="connsiteX3" fmla="*/ 1043769 w 1771650"/>
              <a:gd name="connsiteY3" fmla="*/ 1497477 h 1676400"/>
              <a:gd name="connsiteX4" fmla="*/ 1109189 w 1771650"/>
              <a:gd name="connsiteY4" fmla="*/ 1361695 h 1676400"/>
              <a:gd name="connsiteX5" fmla="*/ 885826 w 1771650"/>
              <a:gd name="connsiteY5" fmla="*/ 1169670 h 1676400"/>
              <a:gd name="connsiteX6" fmla="*/ 662462 w 1771650"/>
              <a:gd name="connsiteY6" fmla="*/ 1361695 h 1676400"/>
              <a:gd name="connsiteX7" fmla="*/ 727884 w 1771650"/>
              <a:gd name="connsiteY7" fmla="*/ 1497477 h 1676400"/>
              <a:gd name="connsiteX8" fmla="*/ 765087 w 1771650"/>
              <a:gd name="connsiteY8" fmla="*/ 1519041 h 1676400"/>
              <a:gd name="connsiteX9" fmla="*/ 765087 w 1771650"/>
              <a:gd name="connsiteY9" fmla="*/ 1676400 h 1676400"/>
              <a:gd name="connsiteX10" fmla="*/ 0 w 1771650"/>
              <a:gd name="connsiteY10" fmla="*/ 1676400 h 1676400"/>
              <a:gd name="connsiteX11" fmla="*/ 0 w 1771650"/>
              <a:gd name="connsiteY11" fmla="*/ 958936 h 1676400"/>
              <a:gd name="connsiteX12" fmla="*/ 157358 w 1771650"/>
              <a:gd name="connsiteY12" fmla="*/ 958936 h 1676400"/>
              <a:gd name="connsiteX13" fmla="*/ 178923 w 1771650"/>
              <a:gd name="connsiteY13" fmla="*/ 996143 h 1676400"/>
              <a:gd name="connsiteX14" fmla="*/ 314705 w 1771650"/>
              <a:gd name="connsiteY14" fmla="*/ 1061564 h 1676400"/>
              <a:gd name="connsiteX15" fmla="*/ 506730 w 1771650"/>
              <a:gd name="connsiteY15" fmla="*/ 838200 h 1676400"/>
              <a:gd name="connsiteX16" fmla="*/ 314705 w 1771650"/>
              <a:gd name="connsiteY16" fmla="*/ 614837 h 1676400"/>
              <a:gd name="connsiteX17" fmla="*/ 178923 w 1771650"/>
              <a:gd name="connsiteY17" fmla="*/ 680259 h 1676400"/>
              <a:gd name="connsiteX18" fmla="*/ 157359 w 1771650"/>
              <a:gd name="connsiteY18" fmla="*/ 717462 h 1676400"/>
              <a:gd name="connsiteX19" fmla="*/ 0 w 1771650"/>
              <a:gd name="connsiteY19" fmla="*/ 717462 h 1676400"/>
              <a:gd name="connsiteX20" fmla="*/ 0 w 1771650"/>
              <a:gd name="connsiteY20" fmla="*/ 0 h 1676400"/>
              <a:gd name="connsiteX21" fmla="*/ 765091 w 1771650"/>
              <a:gd name="connsiteY21" fmla="*/ 0 h 1676400"/>
              <a:gd name="connsiteX22" fmla="*/ 765091 w 1771650"/>
              <a:gd name="connsiteY22" fmla="*/ 157358 h 1676400"/>
              <a:gd name="connsiteX23" fmla="*/ 727884 w 1771650"/>
              <a:gd name="connsiteY23" fmla="*/ 178922 h 1676400"/>
              <a:gd name="connsiteX24" fmla="*/ 662463 w 1771650"/>
              <a:gd name="connsiteY24" fmla="*/ 314705 h 1676400"/>
              <a:gd name="connsiteX25" fmla="*/ 885827 w 1771650"/>
              <a:gd name="connsiteY25" fmla="*/ 506729 h 1676400"/>
              <a:gd name="connsiteX26" fmla="*/ 1109190 w 1771650"/>
              <a:gd name="connsiteY26" fmla="*/ 314705 h 1676400"/>
              <a:gd name="connsiteX27" fmla="*/ 1043768 w 1771650"/>
              <a:gd name="connsiteY27" fmla="*/ 178922 h 1676400"/>
              <a:gd name="connsiteX28" fmla="*/ 1006565 w 1771650"/>
              <a:gd name="connsiteY28" fmla="*/ 157359 h 1676400"/>
              <a:gd name="connsiteX29" fmla="*/ 1006565 w 1771650"/>
              <a:gd name="connsiteY29" fmla="*/ 0 h 1676400"/>
              <a:gd name="connsiteX30" fmla="*/ 1771650 w 1771650"/>
              <a:gd name="connsiteY30" fmla="*/ 0 h 1676400"/>
              <a:gd name="connsiteX31" fmla="*/ 1771650 w 1771650"/>
              <a:gd name="connsiteY31" fmla="*/ 717465 h 1676400"/>
              <a:gd name="connsiteX32" fmla="*/ 1614293 w 1771650"/>
              <a:gd name="connsiteY32" fmla="*/ 717465 h 1676400"/>
              <a:gd name="connsiteX33" fmla="*/ 1592729 w 1771650"/>
              <a:gd name="connsiteY33" fmla="*/ 680257 h 1676400"/>
              <a:gd name="connsiteX34" fmla="*/ 1456946 w 1771650"/>
              <a:gd name="connsiteY34" fmla="*/ 614837 h 1676400"/>
              <a:gd name="connsiteX35" fmla="*/ 1264922 w 1771650"/>
              <a:gd name="connsiteY35" fmla="*/ 838200 h 1676400"/>
              <a:gd name="connsiteX36" fmla="*/ 1456946 w 1771650"/>
              <a:gd name="connsiteY36" fmla="*/ 1061564 h 1676400"/>
              <a:gd name="connsiteX37" fmla="*/ 1592729 w 1771650"/>
              <a:gd name="connsiteY37" fmla="*/ 996142 h 1676400"/>
              <a:gd name="connsiteX38" fmla="*/ 1614292 w 1771650"/>
              <a:gd name="connsiteY38" fmla="*/ 958939 h 1676400"/>
              <a:gd name="connsiteX39" fmla="*/ 1771650 w 1771650"/>
              <a:gd name="connsiteY39" fmla="*/ 958939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77165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2"/>
                </a:lnTo>
                <a:lnTo>
                  <a:pt x="1043769" y="1497477"/>
                </a:lnTo>
                <a:cubicBezTo>
                  <a:pt x="1084189" y="1462726"/>
                  <a:pt x="1109189" y="1414720"/>
                  <a:pt x="1109189" y="1361695"/>
                </a:cubicBezTo>
                <a:cubicBezTo>
                  <a:pt x="1109189" y="1255643"/>
                  <a:pt x="1009186" y="1169670"/>
                  <a:pt x="885826" y="1169670"/>
                </a:cubicBezTo>
                <a:cubicBezTo>
                  <a:pt x="762466" y="1169670"/>
                  <a:pt x="662462" y="1255643"/>
                  <a:pt x="662462" y="1361695"/>
                </a:cubicBezTo>
                <a:cubicBezTo>
                  <a:pt x="662462" y="1414720"/>
                  <a:pt x="687463" y="1462726"/>
                  <a:pt x="727884" y="1497477"/>
                </a:cubicBezTo>
                <a:lnTo>
                  <a:pt x="765087" y="1519041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958936"/>
                </a:lnTo>
                <a:lnTo>
                  <a:pt x="157358" y="958936"/>
                </a:lnTo>
                <a:lnTo>
                  <a:pt x="178923" y="996143"/>
                </a:lnTo>
                <a:cubicBezTo>
                  <a:pt x="213674" y="1036564"/>
                  <a:pt x="261680" y="1061564"/>
                  <a:pt x="314705" y="1061564"/>
                </a:cubicBezTo>
                <a:cubicBezTo>
                  <a:pt x="420757" y="1061564"/>
                  <a:pt x="506730" y="961560"/>
                  <a:pt x="506730" y="838200"/>
                </a:cubicBezTo>
                <a:cubicBezTo>
                  <a:pt x="506730" y="714840"/>
                  <a:pt x="420757" y="614837"/>
                  <a:pt x="314705" y="614837"/>
                </a:cubicBezTo>
                <a:cubicBezTo>
                  <a:pt x="261680" y="614837"/>
                  <a:pt x="213674" y="639838"/>
                  <a:pt x="178923" y="680259"/>
                </a:cubicBezTo>
                <a:lnTo>
                  <a:pt x="157359" y="717462"/>
                </a:lnTo>
                <a:lnTo>
                  <a:pt x="0" y="717462"/>
                </a:lnTo>
                <a:lnTo>
                  <a:pt x="0" y="0"/>
                </a:lnTo>
                <a:lnTo>
                  <a:pt x="765091" y="0"/>
                </a:lnTo>
                <a:lnTo>
                  <a:pt x="765091" y="157358"/>
                </a:lnTo>
                <a:lnTo>
                  <a:pt x="727884" y="178922"/>
                </a:lnTo>
                <a:cubicBezTo>
                  <a:pt x="687463" y="213673"/>
                  <a:pt x="662463" y="261680"/>
                  <a:pt x="662463" y="314705"/>
                </a:cubicBezTo>
                <a:cubicBezTo>
                  <a:pt x="662463" y="420756"/>
                  <a:pt x="762467" y="506729"/>
                  <a:pt x="885827" y="506729"/>
                </a:cubicBezTo>
                <a:cubicBezTo>
                  <a:pt x="1009187" y="506729"/>
                  <a:pt x="1109190" y="420756"/>
                  <a:pt x="1109190" y="314705"/>
                </a:cubicBezTo>
                <a:cubicBezTo>
                  <a:pt x="1109190" y="261680"/>
                  <a:pt x="1084189" y="213673"/>
                  <a:pt x="1043768" y="178922"/>
                </a:cubicBezTo>
                <a:lnTo>
                  <a:pt x="1006565" y="157359"/>
                </a:lnTo>
                <a:lnTo>
                  <a:pt x="1006565" y="0"/>
                </a:lnTo>
                <a:lnTo>
                  <a:pt x="1771650" y="0"/>
                </a:lnTo>
                <a:lnTo>
                  <a:pt x="1771650" y="717465"/>
                </a:lnTo>
                <a:lnTo>
                  <a:pt x="1614293" y="717465"/>
                </a:lnTo>
                <a:lnTo>
                  <a:pt x="1592729" y="680257"/>
                </a:lnTo>
                <a:cubicBezTo>
                  <a:pt x="1557978" y="639837"/>
                  <a:pt x="1509971" y="614837"/>
                  <a:pt x="1456946" y="614837"/>
                </a:cubicBezTo>
                <a:cubicBezTo>
                  <a:pt x="1350895" y="614837"/>
                  <a:pt x="1264922" y="714840"/>
                  <a:pt x="1264922" y="838200"/>
                </a:cubicBezTo>
                <a:cubicBezTo>
                  <a:pt x="1264922" y="961560"/>
                  <a:pt x="1350895" y="1061564"/>
                  <a:pt x="1456946" y="1061564"/>
                </a:cubicBezTo>
                <a:cubicBezTo>
                  <a:pt x="1509971" y="1061564"/>
                  <a:pt x="1557978" y="1036563"/>
                  <a:pt x="1592729" y="996142"/>
                </a:cubicBezTo>
                <a:lnTo>
                  <a:pt x="1614292" y="958939"/>
                </a:lnTo>
                <a:lnTo>
                  <a:pt x="1771650" y="958939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6" name="Freihandform 5"/>
          <p:cNvSpPr/>
          <p:nvPr/>
        </p:nvSpPr>
        <p:spPr>
          <a:xfrm rot="5400000">
            <a:off x="2597683" y="933357"/>
            <a:ext cx="2183131" cy="2278019"/>
          </a:xfrm>
          <a:custGeom>
            <a:avLst/>
            <a:gdLst>
              <a:gd name="connsiteX0" fmla="*/ 1676401 w 2183131"/>
              <a:gd name="connsiteY0" fmla="*/ 1519303 h 2278019"/>
              <a:gd name="connsiteX1" fmla="*/ 1676401 w 2183131"/>
              <a:gd name="connsiteY1" fmla="*/ 1277829 h 2278019"/>
              <a:gd name="connsiteX2" fmla="*/ 1833761 w 2183131"/>
              <a:gd name="connsiteY2" fmla="*/ 1277829 h 2278019"/>
              <a:gd name="connsiteX3" fmla="*/ 1855324 w 2183131"/>
              <a:gd name="connsiteY3" fmla="*/ 1240626 h 2278019"/>
              <a:gd name="connsiteX4" fmla="*/ 1991107 w 2183131"/>
              <a:gd name="connsiteY4" fmla="*/ 1175204 h 2278019"/>
              <a:gd name="connsiteX5" fmla="*/ 2183131 w 2183131"/>
              <a:gd name="connsiteY5" fmla="*/ 1398568 h 2278019"/>
              <a:gd name="connsiteX6" fmla="*/ 1991107 w 2183131"/>
              <a:gd name="connsiteY6" fmla="*/ 1621931 h 2278019"/>
              <a:gd name="connsiteX7" fmla="*/ 1855324 w 2183131"/>
              <a:gd name="connsiteY7" fmla="*/ 1556511 h 2278019"/>
              <a:gd name="connsiteX8" fmla="*/ 1833759 w 2183131"/>
              <a:gd name="connsiteY8" fmla="*/ 1519303 h 2278019"/>
              <a:gd name="connsiteX9" fmla="*/ 0 w 2183131"/>
              <a:gd name="connsiteY9" fmla="*/ 2278019 h 2278019"/>
              <a:gd name="connsiteX10" fmla="*/ 1 w 2183131"/>
              <a:gd name="connsiteY10" fmla="*/ 506368 h 2278019"/>
              <a:gd name="connsiteX11" fmla="*/ 717462 w 2183131"/>
              <a:gd name="connsiteY11" fmla="*/ 506368 h 2278019"/>
              <a:gd name="connsiteX12" fmla="*/ 717462 w 2183131"/>
              <a:gd name="connsiteY12" fmla="*/ 349371 h 2278019"/>
              <a:gd name="connsiteX13" fmla="*/ 680259 w 2183131"/>
              <a:gd name="connsiteY13" fmla="*/ 327807 h 2278019"/>
              <a:gd name="connsiteX14" fmla="*/ 614837 w 2183131"/>
              <a:gd name="connsiteY14" fmla="*/ 192025 h 2278019"/>
              <a:gd name="connsiteX15" fmla="*/ 838201 w 2183131"/>
              <a:gd name="connsiteY15" fmla="*/ 0 h 2278019"/>
              <a:gd name="connsiteX16" fmla="*/ 1061564 w 2183131"/>
              <a:gd name="connsiteY16" fmla="*/ 192025 h 2278019"/>
              <a:gd name="connsiteX17" fmla="*/ 996143 w 2183131"/>
              <a:gd name="connsiteY17" fmla="*/ 327807 h 2278019"/>
              <a:gd name="connsiteX18" fmla="*/ 958936 w 2183131"/>
              <a:gd name="connsiteY18" fmla="*/ 349372 h 2278019"/>
              <a:gd name="connsiteX19" fmla="*/ 958936 w 2183131"/>
              <a:gd name="connsiteY19" fmla="*/ 506368 h 2278019"/>
              <a:gd name="connsiteX20" fmla="*/ 1676401 w 2183131"/>
              <a:gd name="connsiteY20" fmla="*/ 506368 h 2278019"/>
              <a:gd name="connsiteX21" fmla="*/ 1676399 w 2183131"/>
              <a:gd name="connsiteY21" fmla="*/ 2278019 h 2278019"/>
              <a:gd name="connsiteX22" fmla="*/ 958937 w 2183131"/>
              <a:gd name="connsiteY22" fmla="*/ 2278019 h 2278019"/>
              <a:gd name="connsiteX23" fmla="*/ 958937 w 2183131"/>
              <a:gd name="connsiteY23" fmla="*/ 2120661 h 2278019"/>
              <a:gd name="connsiteX24" fmla="*/ 996144 w 2183131"/>
              <a:gd name="connsiteY24" fmla="*/ 2099096 h 2278019"/>
              <a:gd name="connsiteX25" fmla="*/ 1061565 w 2183131"/>
              <a:gd name="connsiteY25" fmla="*/ 1963314 h 2278019"/>
              <a:gd name="connsiteX26" fmla="*/ 838201 w 2183131"/>
              <a:gd name="connsiteY26" fmla="*/ 1771288 h 2278019"/>
              <a:gd name="connsiteX27" fmla="*/ 614838 w 2183131"/>
              <a:gd name="connsiteY27" fmla="*/ 1963314 h 2278019"/>
              <a:gd name="connsiteX28" fmla="*/ 680260 w 2183131"/>
              <a:gd name="connsiteY28" fmla="*/ 2099096 h 2278019"/>
              <a:gd name="connsiteX29" fmla="*/ 717463 w 2183131"/>
              <a:gd name="connsiteY29" fmla="*/ 2120660 h 2278019"/>
              <a:gd name="connsiteX30" fmla="*/ 717463 w 2183131"/>
              <a:gd name="connsiteY30" fmla="*/ 2278019 h 2278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83131" h="2278019">
                <a:moveTo>
                  <a:pt x="1676401" y="1519303"/>
                </a:moveTo>
                <a:lnTo>
                  <a:pt x="1676401" y="1277829"/>
                </a:lnTo>
                <a:lnTo>
                  <a:pt x="1833761" y="1277829"/>
                </a:lnTo>
                <a:lnTo>
                  <a:pt x="1855324" y="1240626"/>
                </a:lnTo>
                <a:cubicBezTo>
                  <a:pt x="1890075" y="1200205"/>
                  <a:pt x="1938081" y="1175204"/>
                  <a:pt x="1991107" y="1175204"/>
                </a:cubicBezTo>
                <a:cubicBezTo>
                  <a:pt x="2097158" y="1175204"/>
                  <a:pt x="2183131" y="1275208"/>
                  <a:pt x="2183131" y="1398568"/>
                </a:cubicBezTo>
                <a:cubicBezTo>
                  <a:pt x="2183131" y="1521928"/>
                  <a:pt x="2097158" y="1621931"/>
                  <a:pt x="1991107" y="1621931"/>
                </a:cubicBezTo>
                <a:cubicBezTo>
                  <a:pt x="1938081" y="1621931"/>
                  <a:pt x="1890075" y="1596931"/>
                  <a:pt x="1855324" y="1556511"/>
                </a:cubicBezTo>
                <a:lnTo>
                  <a:pt x="1833759" y="1519303"/>
                </a:lnTo>
                <a:close/>
                <a:moveTo>
                  <a:pt x="0" y="2278019"/>
                </a:moveTo>
                <a:lnTo>
                  <a:pt x="1" y="506368"/>
                </a:lnTo>
                <a:lnTo>
                  <a:pt x="717462" y="506368"/>
                </a:lnTo>
                <a:lnTo>
                  <a:pt x="717462" y="349371"/>
                </a:lnTo>
                <a:lnTo>
                  <a:pt x="680259" y="327807"/>
                </a:lnTo>
                <a:cubicBezTo>
                  <a:pt x="639838" y="293056"/>
                  <a:pt x="614837" y="245050"/>
                  <a:pt x="614837" y="192025"/>
                </a:cubicBezTo>
                <a:cubicBezTo>
                  <a:pt x="614837" y="85973"/>
                  <a:pt x="714840" y="0"/>
                  <a:pt x="838201" y="0"/>
                </a:cubicBezTo>
                <a:cubicBezTo>
                  <a:pt x="961561" y="0"/>
                  <a:pt x="1061564" y="85973"/>
                  <a:pt x="1061564" y="192025"/>
                </a:cubicBezTo>
                <a:cubicBezTo>
                  <a:pt x="1061564" y="245050"/>
                  <a:pt x="1036564" y="293056"/>
                  <a:pt x="996143" y="327807"/>
                </a:cubicBezTo>
                <a:lnTo>
                  <a:pt x="958936" y="349372"/>
                </a:lnTo>
                <a:lnTo>
                  <a:pt x="958936" y="506368"/>
                </a:lnTo>
                <a:lnTo>
                  <a:pt x="1676401" y="506368"/>
                </a:lnTo>
                <a:lnTo>
                  <a:pt x="1676399" y="2278019"/>
                </a:lnTo>
                <a:lnTo>
                  <a:pt x="958937" y="2278019"/>
                </a:lnTo>
                <a:lnTo>
                  <a:pt x="958937" y="2120661"/>
                </a:lnTo>
                <a:lnTo>
                  <a:pt x="996144" y="2099096"/>
                </a:lnTo>
                <a:cubicBezTo>
                  <a:pt x="1036565" y="2064346"/>
                  <a:pt x="1061565" y="2016339"/>
                  <a:pt x="1061565" y="1963314"/>
                </a:cubicBezTo>
                <a:cubicBezTo>
                  <a:pt x="1061565" y="1857262"/>
                  <a:pt x="961561" y="1771288"/>
                  <a:pt x="838201" y="1771288"/>
                </a:cubicBezTo>
                <a:cubicBezTo>
                  <a:pt x="714841" y="1771288"/>
                  <a:pt x="614838" y="1857262"/>
                  <a:pt x="614838" y="1963314"/>
                </a:cubicBezTo>
                <a:cubicBezTo>
                  <a:pt x="614838" y="2016339"/>
                  <a:pt x="639839" y="2064346"/>
                  <a:pt x="680260" y="2099096"/>
                </a:cubicBezTo>
                <a:lnTo>
                  <a:pt x="717463" y="2120660"/>
                </a:lnTo>
                <a:lnTo>
                  <a:pt x="717463" y="2278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7" name="Freihandform 6"/>
          <p:cNvSpPr/>
          <p:nvPr/>
        </p:nvSpPr>
        <p:spPr>
          <a:xfrm rot="10800000">
            <a:off x="771696" y="2150610"/>
            <a:ext cx="2278380" cy="2689860"/>
          </a:xfrm>
          <a:custGeom>
            <a:avLst/>
            <a:gdLst>
              <a:gd name="connsiteX0" fmla="*/ 1392555 w 2278380"/>
              <a:gd name="connsiteY0" fmla="*/ 2689860 h 2689860"/>
              <a:gd name="connsiteX1" fmla="*/ 1169192 w 2278380"/>
              <a:gd name="connsiteY1" fmla="*/ 2497835 h 2689860"/>
              <a:gd name="connsiteX2" fmla="*/ 1234613 w 2278380"/>
              <a:gd name="connsiteY2" fmla="*/ 2362053 h 2689860"/>
              <a:gd name="connsiteX3" fmla="*/ 1271820 w 2278380"/>
              <a:gd name="connsiteY3" fmla="*/ 2340488 h 2689860"/>
              <a:gd name="connsiteX4" fmla="*/ 1271820 w 2278380"/>
              <a:gd name="connsiteY4" fmla="*/ 2183130 h 2689860"/>
              <a:gd name="connsiteX5" fmla="*/ 506730 w 2278380"/>
              <a:gd name="connsiteY5" fmla="*/ 2183130 h 2689860"/>
              <a:gd name="connsiteX6" fmla="*/ 506730 w 2278380"/>
              <a:gd name="connsiteY6" fmla="*/ 1465668 h 2689860"/>
              <a:gd name="connsiteX7" fmla="*/ 349371 w 2278380"/>
              <a:gd name="connsiteY7" fmla="*/ 1465668 h 2689860"/>
              <a:gd name="connsiteX8" fmla="*/ 327807 w 2278380"/>
              <a:gd name="connsiteY8" fmla="*/ 1502871 h 2689860"/>
              <a:gd name="connsiteX9" fmla="*/ 192025 w 2278380"/>
              <a:gd name="connsiteY9" fmla="*/ 1568293 h 2689860"/>
              <a:gd name="connsiteX10" fmla="*/ 0 w 2278380"/>
              <a:gd name="connsiteY10" fmla="*/ 1344930 h 2689860"/>
              <a:gd name="connsiteX11" fmla="*/ 192025 w 2278380"/>
              <a:gd name="connsiteY11" fmla="*/ 1121566 h 2689860"/>
              <a:gd name="connsiteX12" fmla="*/ 327807 w 2278380"/>
              <a:gd name="connsiteY12" fmla="*/ 1186987 h 2689860"/>
              <a:gd name="connsiteX13" fmla="*/ 349372 w 2278380"/>
              <a:gd name="connsiteY13" fmla="*/ 1224194 h 2689860"/>
              <a:gd name="connsiteX14" fmla="*/ 506730 w 2278380"/>
              <a:gd name="connsiteY14" fmla="*/ 1224194 h 2689860"/>
              <a:gd name="connsiteX15" fmla="*/ 506730 w 2278380"/>
              <a:gd name="connsiteY15" fmla="*/ 506730 h 2689860"/>
              <a:gd name="connsiteX16" fmla="*/ 1271817 w 2278380"/>
              <a:gd name="connsiteY16" fmla="*/ 506730 h 2689860"/>
              <a:gd name="connsiteX17" fmla="*/ 1271817 w 2278380"/>
              <a:gd name="connsiteY17" fmla="*/ 349370 h 2689860"/>
              <a:gd name="connsiteX18" fmla="*/ 1234614 w 2278380"/>
              <a:gd name="connsiteY18" fmla="*/ 327807 h 2689860"/>
              <a:gd name="connsiteX19" fmla="*/ 1169192 w 2278380"/>
              <a:gd name="connsiteY19" fmla="*/ 192024 h 2689860"/>
              <a:gd name="connsiteX20" fmla="*/ 1392555 w 2278380"/>
              <a:gd name="connsiteY20" fmla="*/ 0 h 2689860"/>
              <a:gd name="connsiteX21" fmla="*/ 1615919 w 2278380"/>
              <a:gd name="connsiteY21" fmla="*/ 192024 h 2689860"/>
              <a:gd name="connsiteX22" fmla="*/ 1550498 w 2278380"/>
              <a:gd name="connsiteY22" fmla="*/ 327807 h 2689860"/>
              <a:gd name="connsiteX23" fmla="*/ 1513291 w 2278380"/>
              <a:gd name="connsiteY23" fmla="*/ 349371 h 2689860"/>
              <a:gd name="connsiteX24" fmla="*/ 1513291 w 2278380"/>
              <a:gd name="connsiteY24" fmla="*/ 506730 h 2689860"/>
              <a:gd name="connsiteX25" fmla="*/ 2278380 w 2278380"/>
              <a:gd name="connsiteY25" fmla="*/ 506730 h 2689860"/>
              <a:gd name="connsiteX26" fmla="*/ 2278380 w 2278380"/>
              <a:gd name="connsiteY26" fmla="*/ 2183130 h 2689860"/>
              <a:gd name="connsiteX27" fmla="*/ 1513294 w 2278380"/>
              <a:gd name="connsiteY27" fmla="*/ 2183130 h 2689860"/>
              <a:gd name="connsiteX28" fmla="*/ 1513294 w 2278380"/>
              <a:gd name="connsiteY28" fmla="*/ 2340489 h 2689860"/>
              <a:gd name="connsiteX29" fmla="*/ 1550497 w 2278380"/>
              <a:gd name="connsiteY29" fmla="*/ 2362053 h 2689860"/>
              <a:gd name="connsiteX30" fmla="*/ 1615919 w 2278380"/>
              <a:gd name="connsiteY30" fmla="*/ 2497835 h 2689860"/>
              <a:gd name="connsiteX31" fmla="*/ 1392555 w 2278380"/>
              <a:gd name="connsiteY31" fmla="*/ 2689860 h 2689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689860">
                <a:moveTo>
                  <a:pt x="1392555" y="2689860"/>
                </a:moveTo>
                <a:cubicBezTo>
                  <a:pt x="1269195" y="2689860"/>
                  <a:pt x="1169192" y="2603887"/>
                  <a:pt x="1169192" y="2497835"/>
                </a:cubicBezTo>
                <a:cubicBezTo>
                  <a:pt x="1169192" y="2444810"/>
                  <a:pt x="1194192" y="2396804"/>
                  <a:pt x="1234613" y="2362053"/>
                </a:cubicBezTo>
                <a:lnTo>
                  <a:pt x="1271820" y="2340488"/>
                </a:lnTo>
                <a:lnTo>
                  <a:pt x="127182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90"/>
                  <a:pt x="0" y="1344930"/>
                </a:cubicBezTo>
                <a:cubicBezTo>
                  <a:pt x="0" y="1221570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7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7" y="506730"/>
                </a:lnTo>
                <a:lnTo>
                  <a:pt x="1271817" y="349370"/>
                </a:lnTo>
                <a:lnTo>
                  <a:pt x="1234614" y="327807"/>
                </a:lnTo>
                <a:cubicBezTo>
                  <a:pt x="1194193" y="293056"/>
                  <a:pt x="1169192" y="245049"/>
                  <a:pt x="1169192" y="192024"/>
                </a:cubicBezTo>
                <a:cubicBezTo>
                  <a:pt x="1169192" y="85973"/>
                  <a:pt x="1269195" y="0"/>
                  <a:pt x="1392555" y="0"/>
                </a:cubicBezTo>
                <a:cubicBezTo>
                  <a:pt x="1515916" y="0"/>
                  <a:pt x="1615919" y="85973"/>
                  <a:pt x="1615919" y="192024"/>
                </a:cubicBezTo>
                <a:cubicBezTo>
                  <a:pt x="1615919" y="245049"/>
                  <a:pt x="1590919" y="293056"/>
                  <a:pt x="1550498" y="327807"/>
                </a:cubicBezTo>
                <a:lnTo>
                  <a:pt x="1513291" y="349371"/>
                </a:lnTo>
                <a:lnTo>
                  <a:pt x="1513291" y="506730"/>
                </a:lnTo>
                <a:lnTo>
                  <a:pt x="2278380" y="506730"/>
                </a:lnTo>
                <a:lnTo>
                  <a:pt x="2278380" y="2183130"/>
                </a:lnTo>
                <a:lnTo>
                  <a:pt x="1513294" y="2183130"/>
                </a:lnTo>
                <a:lnTo>
                  <a:pt x="1513294" y="2340489"/>
                </a:lnTo>
                <a:lnTo>
                  <a:pt x="1550497" y="2362053"/>
                </a:lnTo>
                <a:cubicBezTo>
                  <a:pt x="1590918" y="2396804"/>
                  <a:pt x="1615919" y="2444810"/>
                  <a:pt x="1615919" y="2497835"/>
                </a:cubicBezTo>
                <a:cubicBezTo>
                  <a:pt x="1615919" y="2603887"/>
                  <a:pt x="1515916" y="2689860"/>
                  <a:pt x="1392555" y="2689860"/>
                </a:cubicBezTo>
                <a:close/>
              </a:path>
            </a:pathLst>
          </a:custGeom>
          <a:solidFill>
            <a:srgbClr val="48E4E8"/>
          </a:solidFill>
          <a:ln>
            <a:solidFill>
              <a:srgbClr val="48E4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8" name="Freihandform 7"/>
          <p:cNvSpPr/>
          <p:nvPr/>
        </p:nvSpPr>
        <p:spPr>
          <a:xfrm rot="10800000">
            <a:off x="3813630" y="4342585"/>
            <a:ext cx="2278380" cy="1676400"/>
          </a:xfrm>
          <a:custGeom>
            <a:avLst/>
            <a:gdLst>
              <a:gd name="connsiteX0" fmla="*/ 1771650 w 2278380"/>
              <a:gd name="connsiteY0" fmla="*/ 1676400 h 1676400"/>
              <a:gd name="connsiteX1" fmla="*/ 1006561 w 2278380"/>
              <a:gd name="connsiteY1" fmla="*/ 1676400 h 1676400"/>
              <a:gd name="connsiteX2" fmla="*/ 1006561 w 2278380"/>
              <a:gd name="connsiteY2" fmla="*/ 1519041 h 1676400"/>
              <a:gd name="connsiteX3" fmla="*/ 1043768 w 2278380"/>
              <a:gd name="connsiteY3" fmla="*/ 1497477 h 1676400"/>
              <a:gd name="connsiteX4" fmla="*/ 1109189 w 2278380"/>
              <a:gd name="connsiteY4" fmla="*/ 1361694 h 1676400"/>
              <a:gd name="connsiteX5" fmla="*/ 885825 w 2278380"/>
              <a:gd name="connsiteY5" fmla="*/ 1169670 h 1676400"/>
              <a:gd name="connsiteX6" fmla="*/ 662462 w 2278380"/>
              <a:gd name="connsiteY6" fmla="*/ 1361694 h 1676400"/>
              <a:gd name="connsiteX7" fmla="*/ 727884 w 2278380"/>
              <a:gd name="connsiteY7" fmla="*/ 1497477 h 1676400"/>
              <a:gd name="connsiteX8" fmla="*/ 765087 w 2278380"/>
              <a:gd name="connsiteY8" fmla="*/ 1519040 h 1676400"/>
              <a:gd name="connsiteX9" fmla="*/ 765087 w 2278380"/>
              <a:gd name="connsiteY9" fmla="*/ 1676400 h 1676400"/>
              <a:gd name="connsiteX10" fmla="*/ 0 w 2278380"/>
              <a:gd name="connsiteY10" fmla="*/ 1676400 h 1676400"/>
              <a:gd name="connsiteX11" fmla="*/ 0 w 2278380"/>
              <a:gd name="connsiteY11" fmla="*/ 0 h 1676400"/>
              <a:gd name="connsiteX12" fmla="*/ 1771650 w 2278380"/>
              <a:gd name="connsiteY12" fmla="*/ 0 h 1676400"/>
              <a:gd name="connsiteX13" fmla="*/ 1771650 w 2278380"/>
              <a:gd name="connsiteY13" fmla="*/ 717462 h 1676400"/>
              <a:gd name="connsiteX14" fmla="*/ 1929010 w 2278380"/>
              <a:gd name="connsiteY14" fmla="*/ 717462 h 1676400"/>
              <a:gd name="connsiteX15" fmla="*/ 1950573 w 2278380"/>
              <a:gd name="connsiteY15" fmla="*/ 680259 h 1676400"/>
              <a:gd name="connsiteX16" fmla="*/ 2086356 w 2278380"/>
              <a:gd name="connsiteY16" fmla="*/ 614837 h 1676400"/>
              <a:gd name="connsiteX17" fmla="*/ 2278380 w 2278380"/>
              <a:gd name="connsiteY17" fmla="*/ 838201 h 1676400"/>
              <a:gd name="connsiteX18" fmla="*/ 2086356 w 2278380"/>
              <a:gd name="connsiteY18" fmla="*/ 1061564 h 1676400"/>
              <a:gd name="connsiteX19" fmla="*/ 1950573 w 2278380"/>
              <a:gd name="connsiteY19" fmla="*/ 996144 h 1676400"/>
              <a:gd name="connsiteX20" fmla="*/ 1929009 w 2278380"/>
              <a:gd name="connsiteY20" fmla="*/ 958936 h 1676400"/>
              <a:gd name="connsiteX21" fmla="*/ 1771650 w 2278380"/>
              <a:gd name="connsiteY21" fmla="*/ 958936 h 167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78380" h="1676400">
                <a:moveTo>
                  <a:pt x="1771650" y="1676400"/>
                </a:moveTo>
                <a:lnTo>
                  <a:pt x="1006561" y="1676400"/>
                </a:lnTo>
                <a:lnTo>
                  <a:pt x="1006561" y="1519041"/>
                </a:lnTo>
                <a:lnTo>
                  <a:pt x="1043768" y="1497477"/>
                </a:lnTo>
                <a:cubicBezTo>
                  <a:pt x="1084189" y="1462726"/>
                  <a:pt x="1109189" y="1414719"/>
                  <a:pt x="1109189" y="1361694"/>
                </a:cubicBezTo>
                <a:cubicBezTo>
                  <a:pt x="1109189" y="1255643"/>
                  <a:pt x="1009186" y="1169670"/>
                  <a:pt x="885825" y="1169670"/>
                </a:cubicBezTo>
                <a:cubicBezTo>
                  <a:pt x="762465" y="1169670"/>
                  <a:pt x="662462" y="1255643"/>
                  <a:pt x="662462" y="1361694"/>
                </a:cubicBezTo>
                <a:cubicBezTo>
                  <a:pt x="662462" y="1414719"/>
                  <a:pt x="687463" y="1462726"/>
                  <a:pt x="727884" y="1497477"/>
                </a:cubicBezTo>
                <a:lnTo>
                  <a:pt x="765087" y="1519040"/>
                </a:lnTo>
                <a:lnTo>
                  <a:pt x="765087" y="1676400"/>
                </a:lnTo>
                <a:lnTo>
                  <a:pt x="0" y="1676400"/>
                </a:lnTo>
                <a:lnTo>
                  <a:pt x="0" y="0"/>
                </a:lnTo>
                <a:lnTo>
                  <a:pt x="1771650" y="0"/>
                </a:lnTo>
                <a:lnTo>
                  <a:pt x="1771650" y="717462"/>
                </a:lnTo>
                <a:lnTo>
                  <a:pt x="1929010" y="717462"/>
                </a:lnTo>
                <a:lnTo>
                  <a:pt x="1950573" y="680259"/>
                </a:lnTo>
                <a:cubicBezTo>
                  <a:pt x="1985324" y="639838"/>
                  <a:pt x="2033331" y="614837"/>
                  <a:pt x="2086356" y="614837"/>
                </a:cubicBezTo>
                <a:cubicBezTo>
                  <a:pt x="2192407" y="614837"/>
                  <a:pt x="2278380" y="714841"/>
                  <a:pt x="2278380" y="838201"/>
                </a:cubicBezTo>
                <a:cubicBezTo>
                  <a:pt x="2278380" y="961561"/>
                  <a:pt x="2192407" y="1061564"/>
                  <a:pt x="2086356" y="1061564"/>
                </a:cubicBezTo>
                <a:cubicBezTo>
                  <a:pt x="2033331" y="1061564"/>
                  <a:pt x="1985324" y="1036564"/>
                  <a:pt x="1950573" y="996144"/>
                </a:cubicBezTo>
                <a:lnTo>
                  <a:pt x="1929009" y="958936"/>
                </a:lnTo>
                <a:lnTo>
                  <a:pt x="1771650" y="9589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" name="Freihandform 8"/>
          <p:cNvSpPr/>
          <p:nvPr/>
        </p:nvSpPr>
        <p:spPr>
          <a:xfrm rot="16200000">
            <a:off x="3621156" y="2360906"/>
            <a:ext cx="2663330" cy="2278380"/>
          </a:xfrm>
          <a:custGeom>
            <a:avLst/>
            <a:gdLst>
              <a:gd name="connsiteX0" fmla="*/ 2183132 w 2689861"/>
              <a:gd name="connsiteY0" fmla="*/ 506730 h 2278380"/>
              <a:gd name="connsiteX1" fmla="*/ 2183130 w 2689861"/>
              <a:gd name="connsiteY1" fmla="*/ 2278380 h 2278380"/>
              <a:gd name="connsiteX2" fmla="*/ 506730 w 2689861"/>
              <a:gd name="connsiteY2" fmla="*/ 2278380 h 2278380"/>
              <a:gd name="connsiteX3" fmla="*/ 506730 w 2689861"/>
              <a:gd name="connsiteY3" fmla="*/ 1513293 h 2278380"/>
              <a:gd name="connsiteX4" fmla="*/ 349370 w 2689861"/>
              <a:gd name="connsiteY4" fmla="*/ 1513293 h 2278380"/>
              <a:gd name="connsiteX5" fmla="*/ 327807 w 2689861"/>
              <a:gd name="connsiteY5" fmla="*/ 1550496 h 2278380"/>
              <a:gd name="connsiteX6" fmla="*/ 192024 w 2689861"/>
              <a:gd name="connsiteY6" fmla="*/ 1615918 h 2278380"/>
              <a:gd name="connsiteX7" fmla="*/ 0 w 2689861"/>
              <a:gd name="connsiteY7" fmla="*/ 1392555 h 2278380"/>
              <a:gd name="connsiteX8" fmla="*/ 192024 w 2689861"/>
              <a:gd name="connsiteY8" fmla="*/ 1169191 h 2278380"/>
              <a:gd name="connsiteX9" fmla="*/ 327807 w 2689861"/>
              <a:gd name="connsiteY9" fmla="*/ 1234612 h 2278380"/>
              <a:gd name="connsiteX10" fmla="*/ 349371 w 2689861"/>
              <a:gd name="connsiteY10" fmla="*/ 1271819 h 2278380"/>
              <a:gd name="connsiteX11" fmla="*/ 506730 w 2689861"/>
              <a:gd name="connsiteY11" fmla="*/ 1271819 h 2278380"/>
              <a:gd name="connsiteX12" fmla="*/ 506730 w 2689861"/>
              <a:gd name="connsiteY12" fmla="*/ 506730 h 2278380"/>
              <a:gd name="connsiteX13" fmla="*/ 1224194 w 2689861"/>
              <a:gd name="connsiteY13" fmla="*/ 506730 h 2278380"/>
              <a:gd name="connsiteX14" fmla="*/ 1224194 w 2689861"/>
              <a:gd name="connsiteY14" fmla="*/ 349371 h 2278380"/>
              <a:gd name="connsiteX15" fmla="*/ 1186991 w 2689861"/>
              <a:gd name="connsiteY15" fmla="*/ 327807 h 2278380"/>
              <a:gd name="connsiteX16" fmla="*/ 1121569 w 2689861"/>
              <a:gd name="connsiteY16" fmla="*/ 192025 h 2278380"/>
              <a:gd name="connsiteX17" fmla="*/ 1344933 w 2689861"/>
              <a:gd name="connsiteY17" fmla="*/ 0 h 2278380"/>
              <a:gd name="connsiteX18" fmla="*/ 1568296 w 2689861"/>
              <a:gd name="connsiteY18" fmla="*/ 192025 h 2278380"/>
              <a:gd name="connsiteX19" fmla="*/ 1502876 w 2689861"/>
              <a:gd name="connsiteY19" fmla="*/ 327807 h 2278380"/>
              <a:gd name="connsiteX20" fmla="*/ 1465668 w 2689861"/>
              <a:gd name="connsiteY20" fmla="*/ 349372 h 2278380"/>
              <a:gd name="connsiteX21" fmla="*/ 1465668 w 2689861"/>
              <a:gd name="connsiteY21" fmla="*/ 506730 h 2278380"/>
              <a:gd name="connsiteX22" fmla="*/ 2689861 w 2689861"/>
              <a:gd name="connsiteY22" fmla="*/ 1392555 h 2278380"/>
              <a:gd name="connsiteX23" fmla="*/ 2497837 w 2689861"/>
              <a:gd name="connsiteY23" fmla="*/ 1615919 h 2278380"/>
              <a:gd name="connsiteX24" fmla="*/ 2362054 w 2689861"/>
              <a:gd name="connsiteY24" fmla="*/ 1550498 h 2278380"/>
              <a:gd name="connsiteX25" fmla="*/ 2340490 w 2689861"/>
              <a:gd name="connsiteY25" fmla="*/ 1513291 h 2278380"/>
              <a:gd name="connsiteX26" fmla="*/ 2183131 w 2689861"/>
              <a:gd name="connsiteY26" fmla="*/ 1513291 h 2278380"/>
              <a:gd name="connsiteX27" fmla="*/ 2183131 w 2689861"/>
              <a:gd name="connsiteY27" fmla="*/ 1271817 h 2278380"/>
              <a:gd name="connsiteX28" fmla="*/ 2340491 w 2689861"/>
              <a:gd name="connsiteY28" fmla="*/ 1271817 h 2278380"/>
              <a:gd name="connsiteX29" fmla="*/ 2362054 w 2689861"/>
              <a:gd name="connsiteY29" fmla="*/ 1234614 h 2278380"/>
              <a:gd name="connsiteX30" fmla="*/ 2497837 w 2689861"/>
              <a:gd name="connsiteY30" fmla="*/ 1169192 h 2278380"/>
              <a:gd name="connsiteX31" fmla="*/ 2689861 w 2689861"/>
              <a:gd name="connsiteY31" fmla="*/ 1392555 h 2278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89861" h="2278380">
                <a:moveTo>
                  <a:pt x="2183132" y="506730"/>
                </a:moveTo>
                <a:lnTo>
                  <a:pt x="2183130" y="2278380"/>
                </a:lnTo>
                <a:lnTo>
                  <a:pt x="506730" y="2278380"/>
                </a:lnTo>
                <a:lnTo>
                  <a:pt x="506730" y="1513293"/>
                </a:lnTo>
                <a:lnTo>
                  <a:pt x="349370" y="1513293"/>
                </a:lnTo>
                <a:lnTo>
                  <a:pt x="327807" y="1550496"/>
                </a:lnTo>
                <a:cubicBezTo>
                  <a:pt x="293056" y="1590917"/>
                  <a:pt x="245049" y="1615918"/>
                  <a:pt x="192024" y="1615918"/>
                </a:cubicBezTo>
                <a:cubicBezTo>
                  <a:pt x="85973" y="1615918"/>
                  <a:pt x="0" y="1515915"/>
                  <a:pt x="0" y="1392555"/>
                </a:cubicBezTo>
                <a:cubicBezTo>
                  <a:pt x="0" y="1269195"/>
                  <a:pt x="85973" y="1169191"/>
                  <a:pt x="192024" y="1169191"/>
                </a:cubicBezTo>
                <a:cubicBezTo>
                  <a:pt x="245049" y="1169191"/>
                  <a:pt x="293056" y="1194191"/>
                  <a:pt x="327807" y="1234612"/>
                </a:cubicBezTo>
                <a:lnTo>
                  <a:pt x="349371" y="1271819"/>
                </a:lnTo>
                <a:lnTo>
                  <a:pt x="506730" y="1271819"/>
                </a:lnTo>
                <a:lnTo>
                  <a:pt x="506730" y="506730"/>
                </a:lnTo>
                <a:lnTo>
                  <a:pt x="1224194" y="506730"/>
                </a:lnTo>
                <a:lnTo>
                  <a:pt x="1224194" y="349371"/>
                </a:lnTo>
                <a:lnTo>
                  <a:pt x="1186991" y="327807"/>
                </a:lnTo>
                <a:cubicBezTo>
                  <a:pt x="1146570" y="293056"/>
                  <a:pt x="1121569" y="245050"/>
                  <a:pt x="1121569" y="192025"/>
                </a:cubicBezTo>
                <a:cubicBezTo>
                  <a:pt x="1121569" y="85973"/>
                  <a:pt x="1221573" y="0"/>
                  <a:pt x="1344933" y="0"/>
                </a:cubicBezTo>
                <a:cubicBezTo>
                  <a:pt x="1468293" y="0"/>
                  <a:pt x="1568296" y="85973"/>
                  <a:pt x="1568296" y="192025"/>
                </a:cubicBezTo>
                <a:cubicBezTo>
                  <a:pt x="1568296" y="245050"/>
                  <a:pt x="1543296" y="293056"/>
                  <a:pt x="1502876" y="327807"/>
                </a:cubicBezTo>
                <a:lnTo>
                  <a:pt x="1465668" y="349372"/>
                </a:lnTo>
                <a:lnTo>
                  <a:pt x="1465668" y="506730"/>
                </a:lnTo>
                <a:close/>
                <a:moveTo>
                  <a:pt x="2689861" y="1392555"/>
                </a:moveTo>
                <a:cubicBezTo>
                  <a:pt x="2689861" y="1515915"/>
                  <a:pt x="2603889" y="1615919"/>
                  <a:pt x="2497837" y="1615919"/>
                </a:cubicBezTo>
                <a:cubicBezTo>
                  <a:pt x="2444812" y="1615919"/>
                  <a:pt x="2396805" y="1590919"/>
                  <a:pt x="2362054" y="1550498"/>
                </a:cubicBezTo>
                <a:lnTo>
                  <a:pt x="2340490" y="1513291"/>
                </a:lnTo>
                <a:lnTo>
                  <a:pt x="2183131" y="1513291"/>
                </a:lnTo>
                <a:lnTo>
                  <a:pt x="2183131" y="1271817"/>
                </a:lnTo>
                <a:lnTo>
                  <a:pt x="2340491" y="1271817"/>
                </a:lnTo>
                <a:lnTo>
                  <a:pt x="2362054" y="1234614"/>
                </a:lnTo>
                <a:cubicBezTo>
                  <a:pt x="2396805" y="1194193"/>
                  <a:pt x="2444812" y="1169192"/>
                  <a:pt x="2497837" y="1169192"/>
                </a:cubicBezTo>
                <a:cubicBezTo>
                  <a:pt x="2603889" y="1169192"/>
                  <a:pt x="2689861" y="1269195"/>
                  <a:pt x="2689861" y="1392555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0" name="Freihandform 9"/>
          <p:cNvSpPr/>
          <p:nvPr/>
        </p:nvSpPr>
        <p:spPr>
          <a:xfrm rot="16200000">
            <a:off x="825462" y="4285977"/>
            <a:ext cx="1676401" cy="1771651"/>
          </a:xfrm>
          <a:custGeom>
            <a:avLst/>
            <a:gdLst>
              <a:gd name="connsiteX0" fmla="*/ 1676401 w 1676401"/>
              <a:gd name="connsiteY0" fmla="*/ 0 h 1771651"/>
              <a:gd name="connsiteX1" fmla="*/ 1676401 w 1676401"/>
              <a:gd name="connsiteY1" fmla="*/ 765089 h 1771651"/>
              <a:gd name="connsiteX2" fmla="*/ 1519043 w 1676401"/>
              <a:gd name="connsiteY2" fmla="*/ 765089 h 1771651"/>
              <a:gd name="connsiteX3" fmla="*/ 1497478 w 1676401"/>
              <a:gd name="connsiteY3" fmla="*/ 727882 h 1771651"/>
              <a:gd name="connsiteX4" fmla="*/ 1361695 w 1676401"/>
              <a:gd name="connsiteY4" fmla="*/ 662461 h 1771651"/>
              <a:gd name="connsiteX5" fmla="*/ 1169671 w 1676401"/>
              <a:gd name="connsiteY5" fmla="*/ 885825 h 1771651"/>
              <a:gd name="connsiteX6" fmla="*/ 1361695 w 1676401"/>
              <a:gd name="connsiteY6" fmla="*/ 1109188 h 1771651"/>
              <a:gd name="connsiteX7" fmla="*/ 1497478 w 1676401"/>
              <a:gd name="connsiteY7" fmla="*/ 1043766 h 1771651"/>
              <a:gd name="connsiteX8" fmla="*/ 1519041 w 1676401"/>
              <a:gd name="connsiteY8" fmla="*/ 1006563 h 1771651"/>
              <a:gd name="connsiteX9" fmla="*/ 1676401 w 1676401"/>
              <a:gd name="connsiteY9" fmla="*/ 1006563 h 1771651"/>
              <a:gd name="connsiteX10" fmla="*/ 1676401 w 1676401"/>
              <a:gd name="connsiteY10" fmla="*/ 1771651 h 1771651"/>
              <a:gd name="connsiteX11" fmla="*/ 958937 w 1676401"/>
              <a:gd name="connsiteY11" fmla="*/ 1771651 h 1771651"/>
              <a:gd name="connsiteX12" fmla="*/ 958937 w 1676401"/>
              <a:gd name="connsiteY12" fmla="*/ 1614293 h 1771651"/>
              <a:gd name="connsiteX13" fmla="*/ 996145 w 1676401"/>
              <a:gd name="connsiteY13" fmla="*/ 1592728 h 1771651"/>
              <a:gd name="connsiteX14" fmla="*/ 1061565 w 1676401"/>
              <a:gd name="connsiteY14" fmla="*/ 1456946 h 1771651"/>
              <a:gd name="connsiteX15" fmla="*/ 838202 w 1676401"/>
              <a:gd name="connsiteY15" fmla="*/ 1264920 h 1771651"/>
              <a:gd name="connsiteX16" fmla="*/ 614838 w 1676401"/>
              <a:gd name="connsiteY16" fmla="*/ 1456946 h 1771651"/>
              <a:gd name="connsiteX17" fmla="*/ 680260 w 1676401"/>
              <a:gd name="connsiteY17" fmla="*/ 1592728 h 1771651"/>
              <a:gd name="connsiteX18" fmla="*/ 717463 w 1676401"/>
              <a:gd name="connsiteY18" fmla="*/ 1614292 h 1771651"/>
              <a:gd name="connsiteX19" fmla="*/ 717463 w 1676401"/>
              <a:gd name="connsiteY19" fmla="*/ 1771651 h 1771651"/>
              <a:gd name="connsiteX20" fmla="*/ 0 w 1676401"/>
              <a:gd name="connsiteY20" fmla="*/ 1771651 h 1771651"/>
              <a:gd name="connsiteX21" fmla="*/ 1 w 1676401"/>
              <a:gd name="connsiteY21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6401" h="1771651">
                <a:moveTo>
                  <a:pt x="1676401" y="0"/>
                </a:moveTo>
                <a:lnTo>
                  <a:pt x="1676401" y="765089"/>
                </a:lnTo>
                <a:lnTo>
                  <a:pt x="1519043" y="765089"/>
                </a:lnTo>
                <a:lnTo>
                  <a:pt x="1497478" y="727882"/>
                </a:lnTo>
                <a:cubicBezTo>
                  <a:pt x="1462727" y="687461"/>
                  <a:pt x="1414721" y="662461"/>
                  <a:pt x="1361695" y="662461"/>
                </a:cubicBezTo>
                <a:cubicBezTo>
                  <a:pt x="1255644" y="662461"/>
                  <a:pt x="1169671" y="762464"/>
                  <a:pt x="1169671" y="885825"/>
                </a:cubicBezTo>
                <a:cubicBezTo>
                  <a:pt x="1169671" y="1009185"/>
                  <a:pt x="1255644" y="1109188"/>
                  <a:pt x="1361695" y="1109188"/>
                </a:cubicBezTo>
                <a:cubicBezTo>
                  <a:pt x="1414721" y="1109188"/>
                  <a:pt x="1462727" y="1084187"/>
                  <a:pt x="1497478" y="1043766"/>
                </a:cubicBezTo>
                <a:lnTo>
                  <a:pt x="1519041" y="1006563"/>
                </a:lnTo>
                <a:lnTo>
                  <a:pt x="1676401" y="1006563"/>
                </a:lnTo>
                <a:lnTo>
                  <a:pt x="1676401" y="1771651"/>
                </a:lnTo>
                <a:lnTo>
                  <a:pt x="958937" y="1771651"/>
                </a:lnTo>
                <a:lnTo>
                  <a:pt x="958937" y="1614293"/>
                </a:lnTo>
                <a:lnTo>
                  <a:pt x="996145" y="1592728"/>
                </a:lnTo>
                <a:cubicBezTo>
                  <a:pt x="1036565" y="1557978"/>
                  <a:pt x="1061565" y="1509971"/>
                  <a:pt x="1061565" y="1456946"/>
                </a:cubicBezTo>
                <a:cubicBezTo>
                  <a:pt x="1061565" y="1350894"/>
                  <a:pt x="961562" y="1264920"/>
                  <a:pt x="838202" y="1264920"/>
                </a:cubicBezTo>
                <a:cubicBezTo>
                  <a:pt x="714841" y="1264920"/>
                  <a:pt x="614838" y="1350894"/>
                  <a:pt x="614838" y="1456946"/>
                </a:cubicBezTo>
                <a:cubicBezTo>
                  <a:pt x="614838" y="1509971"/>
                  <a:pt x="639839" y="1557978"/>
                  <a:pt x="680260" y="1592728"/>
                </a:cubicBezTo>
                <a:lnTo>
                  <a:pt x="717463" y="1614292"/>
                </a:lnTo>
                <a:lnTo>
                  <a:pt x="717463" y="1771651"/>
                </a:lnTo>
                <a:lnTo>
                  <a:pt x="0" y="1771651"/>
                </a:lnTo>
                <a:lnTo>
                  <a:pt x="1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1" name="Freihandform 10"/>
          <p:cNvSpPr/>
          <p:nvPr/>
        </p:nvSpPr>
        <p:spPr>
          <a:xfrm>
            <a:off x="2053255" y="3835855"/>
            <a:ext cx="2278380" cy="2183130"/>
          </a:xfrm>
          <a:custGeom>
            <a:avLst/>
            <a:gdLst>
              <a:gd name="connsiteX0" fmla="*/ 1392554 w 2278380"/>
              <a:gd name="connsiteY0" fmla="*/ 0 h 2183130"/>
              <a:gd name="connsiteX1" fmla="*/ 1615918 w 2278380"/>
              <a:gd name="connsiteY1" fmla="*/ 192025 h 2183130"/>
              <a:gd name="connsiteX2" fmla="*/ 1550497 w 2278380"/>
              <a:gd name="connsiteY2" fmla="*/ 327807 h 2183130"/>
              <a:gd name="connsiteX3" fmla="*/ 1513290 w 2278380"/>
              <a:gd name="connsiteY3" fmla="*/ 349372 h 2183130"/>
              <a:gd name="connsiteX4" fmla="*/ 1513290 w 2278380"/>
              <a:gd name="connsiteY4" fmla="*/ 506730 h 2183130"/>
              <a:gd name="connsiteX5" fmla="*/ 2278380 w 2278380"/>
              <a:gd name="connsiteY5" fmla="*/ 506730 h 2183130"/>
              <a:gd name="connsiteX6" fmla="*/ 2278380 w 2278380"/>
              <a:gd name="connsiteY6" fmla="*/ 1224193 h 2183130"/>
              <a:gd name="connsiteX7" fmla="*/ 2121021 w 2278380"/>
              <a:gd name="connsiteY7" fmla="*/ 1224193 h 2183130"/>
              <a:gd name="connsiteX8" fmla="*/ 2099456 w 2278380"/>
              <a:gd name="connsiteY8" fmla="*/ 1186985 h 2183130"/>
              <a:gd name="connsiteX9" fmla="*/ 1963674 w 2278380"/>
              <a:gd name="connsiteY9" fmla="*/ 1121565 h 2183130"/>
              <a:gd name="connsiteX10" fmla="*/ 1771650 w 2278380"/>
              <a:gd name="connsiteY10" fmla="*/ 1344928 h 2183130"/>
              <a:gd name="connsiteX11" fmla="*/ 1963674 w 2278380"/>
              <a:gd name="connsiteY11" fmla="*/ 1568292 h 2183130"/>
              <a:gd name="connsiteX12" fmla="*/ 2099456 w 2278380"/>
              <a:gd name="connsiteY12" fmla="*/ 1502870 h 2183130"/>
              <a:gd name="connsiteX13" fmla="*/ 2121020 w 2278380"/>
              <a:gd name="connsiteY13" fmla="*/ 1465667 h 2183130"/>
              <a:gd name="connsiteX14" fmla="*/ 2278380 w 2278380"/>
              <a:gd name="connsiteY14" fmla="*/ 1465667 h 2183130"/>
              <a:gd name="connsiteX15" fmla="*/ 2278380 w 2278380"/>
              <a:gd name="connsiteY15" fmla="*/ 2183130 h 2183130"/>
              <a:gd name="connsiteX16" fmla="*/ 506730 w 2278380"/>
              <a:gd name="connsiteY16" fmla="*/ 2183130 h 2183130"/>
              <a:gd name="connsiteX17" fmla="*/ 506730 w 2278380"/>
              <a:gd name="connsiteY17" fmla="*/ 1465668 h 2183130"/>
              <a:gd name="connsiteX18" fmla="*/ 349371 w 2278380"/>
              <a:gd name="connsiteY18" fmla="*/ 1465668 h 2183130"/>
              <a:gd name="connsiteX19" fmla="*/ 327807 w 2278380"/>
              <a:gd name="connsiteY19" fmla="*/ 1502871 h 2183130"/>
              <a:gd name="connsiteX20" fmla="*/ 192025 w 2278380"/>
              <a:gd name="connsiteY20" fmla="*/ 1568293 h 2183130"/>
              <a:gd name="connsiteX21" fmla="*/ 0 w 2278380"/>
              <a:gd name="connsiteY21" fmla="*/ 1344929 h 2183130"/>
              <a:gd name="connsiteX22" fmla="*/ 192025 w 2278380"/>
              <a:gd name="connsiteY22" fmla="*/ 1121566 h 2183130"/>
              <a:gd name="connsiteX23" fmla="*/ 327807 w 2278380"/>
              <a:gd name="connsiteY23" fmla="*/ 1186986 h 2183130"/>
              <a:gd name="connsiteX24" fmla="*/ 349372 w 2278380"/>
              <a:gd name="connsiteY24" fmla="*/ 1224194 h 2183130"/>
              <a:gd name="connsiteX25" fmla="*/ 506730 w 2278380"/>
              <a:gd name="connsiteY25" fmla="*/ 1224194 h 2183130"/>
              <a:gd name="connsiteX26" fmla="*/ 506730 w 2278380"/>
              <a:gd name="connsiteY26" fmla="*/ 506730 h 2183130"/>
              <a:gd name="connsiteX27" fmla="*/ 1271816 w 2278380"/>
              <a:gd name="connsiteY27" fmla="*/ 506730 h 2183130"/>
              <a:gd name="connsiteX28" fmla="*/ 1271816 w 2278380"/>
              <a:gd name="connsiteY28" fmla="*/ 349371 h 2183130"/>
              <a:gd name="connsiteX29" fmla="*/ 1234613 w 2278380"/>
              <a:gd name="connsiteY29" fmla="*/ 327807 h 2183130"/>
              <a:gd name="connsiteX30" fmla="*/ 1169191 w 2278380"/>
              <a:gd name="connsiteY30" fmla="*/ 192025 h 2183130"/>
              <a:gd name="connsiteX31" fmla="*/ 1392554 w 2278380"/>
              <a:gd name="connsiteY31" fmla="*/ 0 h 218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78380" h="2183130">
                <a:moveTo>
                  <a:pt x="1392554" y="0"/>
                </a:moveTo>
                <a:cubicBezTo>
                  <a:pt x="1515915" y="0"/>
                  <a:pt x="1615918" y="85973"/>
                  <a:pt x="1615918" y="192025"/>
                </a:cubicBezTo>
                <a:cubicBezTo>
                  <a:pt x="1615918" y="245050"/>
                  <a:pt x="1590918" y="293056"/>
                  <a:pt x="1550497" y="327807"/>
                </a:cubicBezTo>
                <a:lnTo>
                  <a:pt x="1513290" y="349372"/>
                </a:lnTo>
                <a:lnTo>
                  <a:pt x="1513290" y="506730"/>
                </a:lnTo>
                <a:lnTo>
                  <a:pt x="2278380" y="506730"/>
                </a:lnTo>
                <a:lnTo>
                  <a:pt x="2278380" y="1224193"/>
                </a:lnTo>
                <a:lnTo>
                  <a:pt x="2121021" y="1224193"/>
                </a:lnTo>
                <a:lnTo>
                  <a:pt x="2099456" y="1186985"/>
                </a:lnTo>
                <a:cubicBezTo>
                  <a:pt x="2064706" y="1146565"/>
                  <a:pt x="2016699" y="1121565"/>
                  <a:pt x="1963674" y="1121565"/>
                </a:cubicBezTo>
                <a:cubicBezTo>
                  <a:pt x="1857622" y="1121565"/>
                  <a:pt x="1771650" y="1221568"/>
                  <a:pt x="1771650" y="1344928"/>
                </a:cubicBezTo>
                <a:cubicBezTo>
                  <a:pt x="1771650" y="1468288"/>
                  <a:pt x="1857622" y="1568292"/>
                  <a:pt x="1963674" y="1568292"/>
                </a:cubicBezTo>
                <a:cubicBezTo>
                  <a:pt x="2016699" y="1568292"/>
                  <a:pt x="2064706" y="1543291"/>
                  <a:pt x="2099456" y="1502870"/>
                </a:cubicBezTo>
                <a:lnTo>
                  <a:pt x="2121020" y="1465667"/>
                </a:lnTo>
                <a:lnTo>
                  <a:pt x="2278380" y="1465667"/>
                </a:lnTo>
                <a:lnTo>
                  <a:pt x="2278380" y="2183130"/>
                </a:lnTo>
                <a:lnTo>
                  <a:pt x="506730" y="2183130"/>
                </a:lnTo>
                <a:lnTo>
                  <a:pt x="506730" y="1465668"/>
                </a:lnTo>
                <a:lnTo>
                  <a:pt x="349371" y="1465668"/>
                </a:lnTo>
                <a:lnTo>
                  <a:pt x="327807" y="1502871"/>
                </a:lnTo>
                <a:cubicBezTo>
                  <a:pt x="293057" y="1543292"/>
                  <a:pt x="245050" y="1568293"/>
                  <a:pt x="192025" y="1568293"/>
                </a:cubicBezTo>
                <a:cubicBezTo>
                  <a:pt x="85973" y="1568293"/>
                  <a:pt x="0" y="1468289"/>
                  <a:pt x="0" y="1344929"/>
                </a:cubicBezTo>
                <a:cubicBezTo>
                  <a:pt x="0" y="1221569"/>
                  <a:pt x="85973" y="1121566"/>
                  <a:pt x="192025" y="1121566"/>
                </a:cubicBezTo>
                <a:cubicBezTo>
                  <a:pt x="245050" y="1121566"/>
                  <a:pt x="293057" y="1146566"/>
                  <a:pt x="327807" y="1186986"/>
                </a:cubicBezTo>
                <a:lnTo>
                  <a:pt x="349372" y="1224194"/>
                </a:lnTo>
                <a:lnTo>
                  <a:pt x="506730" y="1224194"/>
                </a:lnTo>
                <a:lnTo>
                  <a:pt x="506730" y="506730"/>
                </a:lnTo>
                <a:lnTo>
                  <a:pt x="1271816" y="506730"/>
                </a:lnTo>
                <a:lnTo>
                  <a:pt x="1271816" y="349371"/>
                </a:lnTo>
                <a:lnTo>
                  <a:pt x="1234613" y="327807"/>
                </a:lnTo>
                <a:cubicBezTo>
                  <a:pt x="1194192" y="293056"/>
                  <a:pt x="1169191" y="245050"/>
                  <a:pt x="1169191" y="192025"/>
                </a:cubicBezTo>
                <a:cubicBezTo>
                  <a:pt x="1169191" y="85973"/>
                  <a:pt x="1269194" y="0"/>
                  <a:pt x="1392554" y="0"/>
                </a:cubicBezTo>
                <a:close/>
              </a:path>
            </a:pathLst>
          </a:custGeom>
          <a:solidFill>
            <a:srgbClr val="EE4273"/>
          </a:solidFill>
          <a:ln>
            <a:solidFill>
              <a:srgbClr val="EE42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3041367" y="3326124"/>
            <a:ext cx="772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   BU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3053452" y="1608843"/>
            <a:ext cx="1537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Kurberatung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773613" y="1466211"/>
            <a:ext cx="15341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äventions-arbei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4428659" y="4830411"/>
            <a:ext cx="161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he- und Paar-beratung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719999" y="3291840"/>
            <a:ext cx="20928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Gruppenangebot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2100929" y="4982485"/>
            <a:ext cx="236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Lebensberatung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719999" y="4853519"/>
            <a:ext cx="168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rziehungs- </a:t>
            </a:r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19" name="Textfeld 18"/>
          <p:cNvSpPr txBox="1"/>
          <p:nvPr/>
        </p:nvSpPr>
        <p:spPr>
          <a:xfrm>
            <a:off x="4382549" y="3035625"/>
            <a:ext cx="2072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Trennungs- und Scheidungs-</a:t>
            </a:r>
          </a:p>
          <a:p>
            <a:r>
              <a:rPr lang="de-DE" dirty="0" err="1" smtClean="0"/>
              <a:t>beratung</a:t>
            </a:r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4731322" y="1491803"/>
            <a:ext cx="19768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21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603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0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ltern- und Spielaben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725785" y="2011421"/>
            <a:ext cx="2530215" cy="94427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für interessierte Eltern und/oder für Fachperso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Durchführung auch in Schulen oder Kindertagesstätten möglich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720000" y="1700408"/>
            <a:ext cx="4536000" cy="292388"/>
          </a:xfrm>
        </p:spPr>
        <p:txBody>
          <a:bodyPr/>
          <a:lstStyle/>
          <a:p>
            <a:r>
              <a:rPr lang="de-DE" dirty="0" smtClean="0"/>
              <a:t>Thematische Elternabende</a:t>
            </a:r>
            <a:endParaRPr lang="de-DE" dirty="0"/>
          </a:p>
        </p:txBody>
      </p:sp>
      <p:sp>
        <p:nvSpPr>
          <p:cNvPr id="11" name="Freihandform 10"/>
          <p:cNvSpPr/>
          <p:nvPr/>
        </p:nvSpPr>
        <p:spPr>
          <a:xfrm rot="16200000">
            <a:off x="5834921" y="1765931"/>
            <a:ext cx="2525132" cy="2699659"/>
          </a:xfrm>
          <a:custGeom>
            <a:avLst/>
            <a:gdLst>
              <a:gd name="connsiteX0" fmla="*/ 717464 w 1676400"/>
              <a:gd name="connsiteY0" fmla="*/ 1614291 h 1771651"/>
              <a:gd name="connsiteX1" fmla="*/ 717463 w 1676400"/>
              <a:gd name="connsiteY1" fmla="*/ 1614290 h 1771651"/>
              <a:gd name="connsiteX2" fmla="*/ 717462 w 1676400"/>
              <a:gd name="connsiteY2" fmla="*/ 1767841 h 1771651"/>
              <a:gd name="connsiteX3" fmla="*/ 717464 w 1676400"/>
              <a:gd name="connsiteY3" fmla="*/ 1767841 h 1771651"/>
              <a:gd name="connsiteX4" fmla="*/ 1061565 w 1676400"/>
              <a:gd name="connsiteY4" fmla="*/ 1453135 h 1771651"/>
              <a:gd name="connsiteX5" fmla="*/ 838202 w 1676400"/>
              <a:gd name="connsiteY5" fmla="*/ 1261110 h 1771651"/>
              <a:gd name="connsiteX6" fmla="*/ 614837 w 1676400"/>
              <a:gd name="connsiteY6" fmla="*/ 1453135 h 1771651"/>
              <a:gd name="connsiteX7" fmla="*/ 615062 w 1676400"/>
              <a:gd name="connsiteY7" fmla="*/ 1455046 h 1771651"/>
              <a:gd name="connsiteX8" fmla="*/ 619377 w 1676400"/>
              <a:gd name="connsiteY8" fmla="*/ 1418245 h 1771651"/>
              <a:gd name="connsiteX9" fmla="*/ 838203 w 1676400"/>
              <a:gd name="connsiteY9" fmla="*/ 1264920 h 1771651"/>
              <a:gd name="connsiteX10" fmla="*/ 1057028 w 1676400"/>
              <a:gd name="connsiteY10" fmla="*/ 1418245 h 1771651"/>
              <a:gd name="connsiteX11" fmla="*/ 1061342 w 1676400"/>
              <a:gd name="connsiteY11" fmla="*/ 1455033 h 1771651"/>
              <a:gd name="connsiteX12" fmla="*/ 1676400 w 1676400"/>
              <a:gd name="connsiteY12" fmla="*/ 0 h 1771651"/>
              <a:gd name="connsiteX13" fmla="*/ 1676400 w 1676400"/>
              <a:gd name="connsiteY13" fmla="*/ 1771651 h 1771651"/>
              <a:gd name="connsiteX14" fmla="*/ 0 w 1676400"/>
              <a:gd name="connsiteY14" fmla="*/ 1771651 h 1771651"/>
              <a:gd name="connsiteX15" fmla="*/ 0 w 1676400"/>
              <a:gd name="connsiteY15" fmla="*/ 1006560 h 1771651"/>
              <a:gd name="connsiteX16" fmla="*/ 157358 w 1676400"/>
              <a:gd name="connsiteY16" fmla="*/ 1006560 h 1771651"/>
              <a:gd name="connsiteX17" fmla="*/ 178923 w 1676400"/>
              <a:gd name="connsiteY17" fmla="*/ 1043768 h 1771651"/>
              <a:gd name="connsiteX18" fmla="*/ 314705 w 1676400"/>
              <a:gd name="connsiteY18" fmla="*/ 1109188 h 1771651"/>
              <a:gd name="connsiteX19" fmla="*/ 506730 w 1676400"/>
              <a:gd name="connsiteY19" fmla="*/ 885825 h 1771651"/>
              <a:gd name="connsiteX20" fmla="*/ 314705 w 1676400"/>
              <a:gd name="connsiteY20" fmla="*/ 662461 h 1771651"/>
              <a:gd name="connsiteX21" fmla="*/ 178923 w 1676400"/>
              <a:gd name="connsiteY21" fmla="*/ 727883 h 1771651"/>
              <a:gd name="connsiteX22" fmla="*/ 157359 w 1676400"/>
              <a:gd name="connsiteY22" fmla="*/ 765086 h 1771651"/>
              <a:gd name="connsiteX23" fmla="*/ 0 w 1676400"/>
              <a:gd name="connsiteY23" fmla="*/ 765086 h 1771651"/>
              <a:gd name="connsiteX24" fmla="*/ 0 w 1676400"/>
              <a:gd name="connsiteY24" fmla="*/ 0 h 1771651"/>
              <a:gd name="connsiteX25" fmla="*/ 717466 w 1676400"/>
              <a:gd name="connsiteY25" fmla="*/ 0 h 1771651"/>
              <a:gd name="connsiteX26" fmla="*/ 717466 w 1676400"/>
              <a:gd name="connsiteY26" fmla="*/ 157358 h 1771651"/>
              <a:gd name="connsiteX27" fmla="*/ 680259 w 1676400"/>
              <a:gd name="connsiteY27" fmla="*/ 178923 h 1771651"/>
              <a:gd name="connsiteX28" fmla="*/ 614838 w 1676400"/>
              <a:gd name="connsiteY28" fmla="*/ 314705 h 1771651"/>
              <a:gd name="connsiteX29" fmla="*/ 838202 w 1676400"/>
              <a:gd name="connsiteY29" fmla="*/ 506730 h 1771651"/>
              <a:gd name="connsiteX30" fmla="*/ 1061565 w 1676400"/>
              <a:gd name="connsiteY30" fmla="*/ 314705 h 1771651"/>
              <a:gd name="connsiteX31" fmla="*/ 996143 w 1676400"/>
              <a:gd name="connsiteY31" fmla="*/ 178923 h 1771651"/>
              <a:gd name="connsiteX32" fmla="*/ 958940 w 1676400"/>
              <a:gd name="connsiteY32" fmla="*/ 157359 h 1771651"/>
              <a:gd name="connsiteX33" fmla="*/ 958940 w 1676400"/>
              <a:gd name="connsiteY33" fmla="*/ 0 h 1771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76400" h="1771651">
                <a:moveTo>
                  <a:pt x="717464" y="1614291"/>
                </a:moveTo>
                <a:lnTo>
                  <a:pt x="717463" y="1614290"/>
                </a:lnTo>
                <a:lnTo>
                  <a:pt x="717462" y="1767841"/>
                </a:lnTo>
                <a:lnTo>
                  <a:pt x="717464" y="1767841"/>
                </a:lnTo>
                <a:close/>
                <a:moveTo>
                  <a:pt x="1061565" y="1453135"/>
                </a:moveTo>
                <a:cubicBezTo>
                  <a:pt x="1061565" y="1347084"/>
                  <a:pt x="961562" y="1261110"/>
                  <a:pt x="838202" y="1261110"/>
                </a:cubicBezTo>
                <a:cubicBezTo>
                  <a:pt x="714842" y="1261110"/>
                  <a:pt x="614837" y="1347084"/>
                  <a:pt x="614837" y="1453135"/>
                </a:cubicBezTo>
                <a:lnTo>
                  <a:pt x="615062" y="1455046"/>
                </a:lnTo>
                <a:lnTo>
                  <a:pt x="619377" y="1418245"/>
                </a:lnTo>
                <a:cubicBezTo>
                  <a:pt x="640205" y="1330743"/>
                  <a:pt x="730262" y="1264920"/>
                  <a:pt x="838203" y="1264920"/>
                </a:cubicBezTo>
                <a:cubicBezTo>
                  <a:pt x="946143" y="1264920"/>
                  <a:pt x="1036200" y="1330743"/>
                  <a:pt x="1057028" y="1418245"/>
                </a:cubicBezTo>
                <a:lnTo>
                  <a:pt x="1061342" y="1455033"/>
                </a:lnTo>
                <a:close/>
                <a:moveTo>
                  <a:pt x="1676400" y="0"/>
                </a:moveTo>
                <a:lnTo>
                  <a:pt x="1676400" y="1771651"/>
                </a:lnTo>
                <a:lnTo>
                  <a:pt x="0" y="1771651"/>
                </a:lnTo>
                <a:lnTo>
                  <a:pt x="0" y="1006560"/>
                </a:lnTo>
                <a:lnTo>
                  <a:pt x="157358" y="1006560"/>
                </a:lnTo>
                <a:lnTo>
                  <a:pt x="178923" y="1043768"/>
                </a:lnTo>
                <a:cubicBezTo>
                  <a:pt x="213674" y="1084188"/>
                  <a:pt x="261680" y="1109188"/>
                  <a:pt x="314705" y="1109188"/>
                </a:cubicBezTo>
                <a:cubicBezTo>
                  <a:pt x="420757" y="1109188"/>
                  <a:pt x="506730" y="1009185"/>
                  <a:pt x="506730" y="885825"/>
                </a:cubicBezTo>
                <a:cubicBezTo>
                  <a:pt x="506730" y="762465"/>
                  <a:pt x="420757" y="662461"/>
                  <a:pt x="314705" y="662461"/>
                </a:cubicBezTo>
                <a:cubicBezTo>
                  <a:pt x="261680" y="662461"/>
                  <a:pt x="213674" y="687462"/>
                  <a:pt x="178923" y="727883"/>
                </a:cubicBezTo>
                <a:lnTo>
                  <a:pt x="157359" y="765086"/>
                </a:lnTo>
                <a:lnTo>
                  <a:pt x="0" y="765086"/>
                </a:lnTo>
                <a:lnTo>
                  <a:pt x="0" y="0"/>
                </a:lnTo>
                <a:lnTo>
                  <a:pt x="717466" y="0"/>
                </a:lnTo>
                <a:lnTo>
                  <a:pt x="717466" y="157358"/>
                </a:lnTo>
                <a:lnTo>
                  <a:pt x="680259" y="178923"/>
                </a:lnTo>
                <a:cubicBezTo>
                  <a:pt x="639838" y="213674"/>
                  <a:pt x="614838" y="261680"/>
                  <a:pt x="614838" y="314705"/>
                </a:cubicBezTo>
                <a:cubicBezTo>
                  <a:pt x="614837" y="420757"/>
                  <a:pt x="714842" y="506730"/>
                  <a:pt x="838202" y="506730"/>
                </a:cubicBezTo>
                <a:cubicBezTo>
                  <a:pt x="961562" y="506730"/>
                  <a:pt x="1061565" y="420757"/>
                  <a:pt x="1061565" y="314705"/>
                </a:cubicBezTo>
                <a:cubicBezTo>
                  <a:pt x="1061565" y="261680"/>
                  <a:pt x="1036564" y="213674"/>
                  <a:pt x="996143" y="178923"/>
                </a:cubicBezTo>
                <a:lnTo>
                  <a:pt x="958940" y="157359"/>
                </a:lnTo>
                <a:lnTo>
                  <a:pt x="95894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6470471" y="2681740"/>
            <a:ext cx="197684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dirty="0" smtClean="0"/>
              <a:t>Eltern- und Spielabende</a:t>
            </a:r>
            <a:endParaRPr lang="de-DE" sz="2500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56" y="2465816"/>
            <a:ext cx="2589529" cy="3436705"/>
          </a:xfrm>
          <a:prstGeom prst="rect">
            <a:avLst/>
          </a:prstGeom>
        </p:spPr>
      </p:pic>
      <p:sp>
        <p:nvSpPr>
          <p:cNvPr id="10" name="Textplatzhalter 6"/>
          <p:cNvSpPr txBox="1">
            <a:spLocks/>
          </p:cNvSpPr>
          <p:nvPr/>
        </p:nvSpPr>
        <p:spPr>
          <a:xfrm>
            <a:off x="2988000" y="4519424"/>
            <a:ext cx="4536000" cy="292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 typeface="Wingdings" panose="05000000000000000000" pitchFamily="2" charset="2"/>
              <a:buNone/>
              <a:tabLst/>
              <a:defRPr lang="de-DE" sz="1900" b="1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Char char="n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238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Pct val="100000"/>
              <a:buFont typeface="Wingdings" panose="05000000000000000000" pitchFamily="2" charset="2"/>
              <a:buChar char="§"/>
              <a:tabLst/>
              <a:defRPr lang="de-DE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marR="0" indent="-209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Pct val="100000"/>
              <a:buFont typeface="Arial Black" panose="020B0A04020102020204" pitchFamily="34" charset="0"/>
              <a:buChar char="−"/>
              <a:tabLst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Spielabende</a:t>
            </a:r>
            <a:endParaRPr lang="de-DE" dirty="0"/>
          </a:p>
        </p:txBody>
      </p:sp>
      <p:sp>
        <p:nvSpPr>
          <p:cNvPr id="13" name="Textplatzhalter 4"/>
          <p:cNvSpPr txBox="1">
            <a:spLocks/>
          </p:cNvSpPr>
          <p:nvPr/>
        </p:nvSpPr>
        <p:spPr>
          <a:xfrm>
            <a:off x="2784891" y="4952908"/>
            <a:ext cx="5157326" cy="94427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 typeface="Wingdings" panose="05000000000000000000" pitchFamily="2" charset="2"/>
              <a:buNone/>
              <a:tabLst/>
              <a:defRPr lang="de-DE" sz="19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Char char="n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238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DE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marR="0" indent="-209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 Black" panose="020B0A04020102020204" pitchFamily="34" charset="0"/>
              <a:buChar char="−"/>
              <a:tabLst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Für Spielbegeisterte Eltern mit oder auch ohne ihre Kinder, die neue Spiele für sich und Ihre Familie kennenlernen wollen.</a:t>
            </a:r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8428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75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75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 build="p"/>
      <p:bldP spid="7" grpId="0" build="p"/>
      <p:bldP spid="11" grpId="0" animBg="1"/>
      <p:bldP spid="12" grpId="0"/>
      <p:bldP spid="10" grpId="0"/>
      <p:bldP spid="1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BFCD11C-50A7-4ACB-A4A5-7A3BF4C94E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</a:t>
            </a:r>
            <a:r>
              <a:rPr lang="de-DE" dirty="0" err="1" smtClean="0"/>
              <a:t>eefl</a:t>
            </a:r>
            <a:r>
              <a:rPr lang="de-DE" dirty="0" smtClean="0"/>
              <a:t> </a:t>
            </a:r>
            <a:r>
              <a:rPr lang="de-DE" dirty="0" err="1" smtClean="0"/>
              <a:t>eisenach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717198" y="963558"/>
            <a:ext cx="2513711" cy="568538"/>
          </a:xfrm>
        </p:spPr>
        <p:txBody>
          <a:bodyPr/>
          <a:lstStyle/>
          <a:p>
            <a:r>
              <a:rPr lang="de-DE" dirty="0" smtClean="0"/>
              <a:t>4. Kontakt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717198" y="1574227"/>
            <a:ext cx="7014239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700" dirty="0" smtClean="0"/>
              <a:t>Erziehungs-, Ehe-, Familien- und Lebensberatungsstelle</a:t>
            </a:r>
          </a:p>
          <a:p>
            <a:r>
              <a:rPr lang="de-DE" sz="1700" dirty="0" smtClean="0"/>
              <a:t>Frauenberg 1</a:t>
            </a:r>
          </a:p>
          <a:p>
            <a:r>
              <a:rPr lang="de-DE" sz="1700" dirty="0" smtClean="0"/>
              <a:t>99817 Eisenach</a:t>
            </a:r>
          </a:p>
          <a:p>
            <a:endParaRPr lang="de-DE" sz="1700" dirty="0"/>
          </a:p>
          <a:p>
            <a:r>
              <a:rPr lang="de-DE" sz="1700" dirty="0" smtClean="0"/>
              <a:t>Leiterin: Beate Barth</a:t>
            </a:r>
          </a:p>
          <a:p>
            <a:endParaRPr lang="de-DE" sz="1700" dirty="0"/>
          </a:p>
          <a:p>
            <a:r>
              <a:rPr lang="de-DE" sz="1700" dirty="0" smtClean="0"/>
              <a:t>Telefon: 03691 74 61 49</a:t>
            </a:r>
          </a:p>
          <a:p>
            <a:r>
              <a:rPr lang="de-DE" sz="1700" dirty="0" smtClean="0"/>
              <a:t>Fax: 03691 78 59 46</a:t>
            </a:r>
          </a:p>
          <a:p>
            <a:r>
              <a:rPr lang="de-DE" sz="1700" dirty="0" smtClean="0"/>
              <a:t>Email: </a:t>
            </a:r>
            <a:r>
              <a:rPr lang="de-DE" sz="1700" dirty="0" smtClean="0">
                <a:hlinkClick r:id="rId3"/>
              </a:rPr>
              <a:t>eefl.esa@awo-thueringen.de</a:t>
            </a:r>
            <a:endParaRPr lang="de-DE" sz="1700" dirty="0" smtClean="0"/>
          </a:p>
          <a:p>
            <a:r>
              <a:rPr lang="de-DE" sz="1700" dirty="0" smtClean="0"/>
              <a:t>Internet: </a:t>
            </a:r>
            <a:r>
              <a:rPr lang="de-DE" sz="1700" dirty="0" smtClean="0">
                <a:hlinkClick r:id="rId4"/>
              </a:rPr>
              <a:t>www.awo-thueringen.de</a:t>
            </a:r>
            <a:endParaRPr lang="de-DE" sz="1700" dirty="0" smtClean="0"/>
          </a:p>
          <a:p>
            <a:endParaRPr lang="de-DE" sz="1700" dirty="0"/>
          </a:p>
          <a:p>
            <a:r>
              <a:rPr lang="de-DE" sz="1700" dirty="0" smtClean="0"/>
              <a:t>Sie können telefonisch und persönlich mit uns Kontakt aufnehmen.</a:t>
            </a:r>
          </a:p>
          <a:p>
            <a:endParaRPr lang="de-DE" sz="1700" b="1" dirty="0"/>
          </a:p>
          <a:p>
            <a:r>
              <a:rPr lang="de-DE" sz="1700" b="1" dirty="0" smtClean="0"/>
              <a:t>Anmeldezeiten</a:t>
            </a:r>
          </a:p>
          <a:p>
            <a:r>
              <a:rPr lang="de-DE" sz="1700" dirty="0" smtClean="0"/>
              <a:t>Montag - Donnerstag</a:t>
            </a:r>
          </a:p>
          <a:p>
            <a:r>
              <a:rPr lang="de-DE" sz="1700" dirty="0" smtClean="0"/>
              <a:t>08.00 - 12.00 Uhr</a:t>
            </a:r>
          </a:p>
          <a:p>
            <a:endParaRPr lang="de-DE" sz="1700" dirty="0"/>
          </a:p>
          <a:p>
            <a:r>
              <a:rPr lang="de-DE" sz="1700" dirty="0" smtClean="0"/>
              <a:t>Die Beratungstermine werden individuell abgestimmt.</a:t>
            </a:r>
            <a:endParaRPr lang="de-DE" sz="1700" dirty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4264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3AA0EA-8408-4F14-B789-15ADFA5C243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 für Ihre</a:t>
            </a:r>
            <a:br>
              <a:rPr lang="de-DE" dirty="0"/>
            </a:br>
            <a:r>
              <a:rPr lang="de-DE" dirty="0"/>
              <a:t>Aufmerksamkeit!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8EBD22C-9C25-456A-9B20-4326A86FB87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75400"/>
            <a:ext cx="6659563" cy="153988"/>
          </a:xfrm>
        </p:spPr>
        <p:txBody>
          <a:bodyPr/>
          <a:lstStyle/>
          <a:p>
            <a:r>
              <a:rPr lang="de-DE" smtClean="0"/>
              <a:t>VORNAME NACHNAME / Einrichtung /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5604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 Wir stellen uns vo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</a:t>
            </a:r>
            <a:r>
              <a:rPr lang="de-DE" dirty="0" err="1" smtClean="0"/>
              <a:t>Eefl</a:t>
            </a:r>
            <a:r>
              <a:rPr lang="de-DE" dirty="0" smtClean="0"/>
              <a:t>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Fachlichkeit des Teams</a:t>
            </a:r>
            <a:endParaRPr lang="de-DE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8" name="Textplatzhalter 5"/>
          <p:cNvSpPr txBox="1">
            <a:spLocks/>
          </p:cNvSpPr>
          <p:nvPr/>
        </p:nvSpPr>
        <p:spPr>
          <a:xfrm>
            <a:off x="717198" y="1877013"/>
            <a:ext cx="6660000" cy="3780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 typeface="Wingdings" panose="05000000000000000000" pitchFamily="2" charset="2"/>
              <a:buNone/>
              <a:tabLst/>
              <a:defRPr lang="de-DE" sz="19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Char char="n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238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DE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marR="0" indent="-209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 Black" panose="020B0A04020102020204" pitchFamily="34" charset="0"/>
              <a:buChar char="−"/>
              <a:tabLst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Wir </a:t>
            </a:r>
            <a:r>
              <a:rPr lang="de-DE" dirty="0"/>
              <a:t>sind ein </a:t>
            </a:r>
            <a:r>
              <a:rPr lang="de-DE" dirty="0" smtClean="0"/>
              <a:t>multiprofessionelles, interdisziplinär arbeitendes Team, </a:t>
            </a:r>
            <a:r>
              <a:rPr lang="de-DE" dirty="0"/>
              <a:t>bestehend aus </a:t>
            </a:r>
            <a:r>
              <a:rPr lang="de-DE" dirty="0" err="1" smtClean="0"/>
              <a:t>Sozialpädagog</a:t>
            </a:r>
            <a:r>
              <a:rPr lang="de-DE" dirty="0" smtClean="0"/>
              <a:t>*innen, Sozialarbeiter*innen, Psycholog*innen </a:t>
            </a:r>
            <a:r>
              <a:rPr lang="de-DE" dirty="0"/>
              <a:t>sowie einer </a:t>
            </a:r>
            <a:r>
              <a:rPr lang="de-DE" dirty="0" smtClean="0"/>
              <a:t>Verwaltungsfachkraf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Die </a:t>
            </a:r>
            <a:r>
              <a:rPr lang="de-DE" dirty="0"/>
              <a:t>von uns bearbeitenden Aufträge erfordern, dass die Mitarbeiter*innen in den fachlichen Austausch durch Fallbesprechungen und Supervisionen treten sowie an regelmäßigen </a:t>
            </a:r>
            <a:r>
              <a:rPr lang="de-DE" dirty="0" smtClean="0"/>
              <a:t>Fort- und </a:t>
            </a:r>
            <a:r>
              <a:rPr lang="de-DE" dirty="0"/>
              <a:t>Weiterbildungen teilnehmen</a:t>
            </a:r>
            <a:r>
              <a:rPr lang="de-DE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Zum Erhalt und Ausbau unserer fachlichen Kompetenzen und Standards arbeiten wir in Kooperation mit verschiedenen Netzwerkpartner*innen.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8874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 Wir stellen uns vo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</a:t>
            </a:r>
            <a:r>
              <a:rPr lang="de-DE" dirty="0" err="1" smtClean="0"/>
              <a:t>Eefl</a:t>
            </a:r>
            <a:r>
              <a:rPr lang="de-DE" dirty="0" smtClean="0"/>
              <a:t>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Arbeitsprinzipi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717198" y="2023207"/>
            <a:ext cx="6660000" cy="3780000"/>
          </a:xfrm>
        </p:spPr>
        <p:txBody>
          <a:bodyPr/>
          <a:lstStyle/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A</a:t>
            </a:r>
            <a:r>
              <a:rPr lang="de-DE" dirty="0" smtClean="0"/>
              <a:t>lle Mitarbeiter*innen unterliegen der Schweigepflich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Auf Wunsch beraten wir anonym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Unsere Angebote sind für Sie freiwillig und kostenfrei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Wir bieten einen niederschwelligen unbürokratischen Zugang a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Die Beziehungsgestaltung zu unseren Klient*innen ist von Wertschätzung, Vertrauen und ganzheitlicher Wahrnehmung geprägt.</a:t>
            </a:r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7092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1. Wir stellen uns vo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</a:t>
            </a:r>
            <a:r>
              <a:rPr lang="de-DE" dirty="0" err="1" smtClean="0"/>
              <a:t>Eefl</a:t>
            </a:r>
            <a:r>
              <a:rPr lang="de-DE" dirty="0" smtClean="0"/>
              <a:t> Eisenach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Grundsätz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8" name="Textplatzhalter 5"/>
          <p:cNvSpPr txBox="1">
            <a:spLocks/>
          </p:cNvSpPr>
          <p:nvPr/>
        </p:nvSpPr>
        <p:spPr>
          <a:xfrm>
            <a:off x="846272" y="2169401"/>
            <a:ext cx="6660000" cy="3780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 typeface="Wingdings" panose="05000000000000000000" pitchFamily="2" charset="2"/>
              <a:buNone/>
              <a:tabLst/>
              <a:defRPr lang="de-DE" sz="19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Char char="n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238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de-DE"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marR="0" indent="-209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 Black" panose="020B0A04020102020204" pitchFamily="34" charset="0"/>
              <a:buChar char="−"/>
              <a:tabLst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 smtClean="0"/>
          </a:p>
          <a:p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Wir stehen allen Menschen unabhängig von Nationalität, Religion oder politischer Überzeugung offen gegenüber</a:t>
            </a:r>
            <a:r>
              <a:rPr lang="de-DE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Wir fühlen </a:t>
            </a:r>
            <a:r>
              <a:rPr lang="de-DE" dirty="0"/>
              <a:t>uns den Werten Gleichheit, Freiheit, Toleranz und Gerechtigkeit verpflichtet</a:t>
            </a:r>
            <a:r>
              <a:rPr lang="de-DE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Wir sind sozial aktiv und verstehen uns als professioneller Dienstleiste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Die Ziele unseres Handelns sind Zufriedenheit und das Vertrauen der Menschen.</a:t>
            </a:r>
          </a:p>
          <a:p>
            <a:endParaRPr lang="de-D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9890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1BFCD11C-50A7-4ACB-A4A5-7A3BF4C94E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7198" y="540000"/>
            <a:ext cx="2479379" cy="197510"/>
          </a:xfrm>
        </p:spPr>
        <p:txBody>
          <a:bodyPr/>
          <a:lstStyle/>
          <a:p>
            <a:r>
              <a:rPr lang="de-DE" dirty="0" smtClean="0"/>
              <a:t>Vorstellung der EEFL Eisenach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>
          <a:xfrm>
            <a:off x="717198" y="1541418"/>
            <a:ext cx="5648768" cy="661852"/>
          </a:xfrm>
        </p:spPr>
        <p:txBody>
          <a:bodyPr/>
          <a:lstStyle/>
          <a:p>
            <a:r>
              <a:rPr lang="de-DE" dirty="0" smtClean="0"/>
              <a:t>2. Unsere Beratungsstelle</a:t>
            </a:r>
            <a:endParaRPr lang="de-DE" dirty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5564777" y="2577736"/>
            <a:ext cx="3161213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900" dirty="0" smtClean="0"/>
              <a:t>Sie erreichen uns vom HBF kommend zu Fuß über die Bahnhofstraße und den Karlsplatz. </a:t>
            </a:r>
          </a:p>
          <a:p>
            <a:r>
              <a:rPr lang="de-DE" sz="1900" dirty="0" smtClean="0"/>
              <a:t>Vor dem Kaufhaus Schwager biegen Sie links in die </a:t>
            </a:r>
            <a:r>
              <a:rPr lang="de-DE" sz="1900" dirty="0" err="1" smtClean="0"/>
              <a:t>Löberstraße</a:t>
            </a:r>
            <a:r>
              <a:rPr lang="de-DE" sz="1900" dirty="0" smtClean="0"/>
              <a:t> ein bis Sie rechts in der Kleinen </a:t>
            </a:r>
            <a:r>
              <a:rPr lang="de-DE" sz="1900" dirty="0" err="1" smtClean="0"/>
              <a:t>Löbergasse</a:t>
            </a:r>
            <a:r>
              <a:rPr lang="de-DE" sz="1900" dirty="0" smtClean="0"/>
              <a:t> auf das letzte Haus auf der linken Seite treffen.</a:t>
            </a:r>
            <a:endParaRPr lang="de-DE" sz="19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98" y="2620021"/>
            <a:ext cx="4394733" cy="3670951"/>
          </a:xfrm>
          <a:prstGeom prst="rect">
            <a:avLst/>
          </a:prstGeom>
        </p:spPr>
      </p:pic>
      <p:sp>
        <p:nvSpPr>
          <p:cNvPr id="11" name="Textplatzhalter 4"/>
          <p:cNvSpPr txBox="1">
            <a:spLocks/>
          </p:cNvSpPr>
          <p:nvPr/>
        </p:nvSpPr>
        <p:spPr>
          <a:xfrm>
            <a:off x="717198" y="2252124"/>
            <a:ext cx="2930491" cy="306928"/>
          </a:xfrm>
          <a:prstGeom prst="rect">
            <a:avLst/>
          </a:prstGeom>
          <a:noFill/>
          <a:ln>
            <a:noFill/>
          </a:ln>
        </p:spPr>
        <p:txBody>
          <a:bodyPr vert="horz" wrap="none" lIns="216000" tIns="7200" rIns="216000" bIns="7200" rtlCol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 typeface="Wingdings" panose="05000000000000000000" pitchFamily="2" charset="2"/>
              <a:buNone/>
              <a:tabLst/>
              <a:defRPr lang="de-DE" sz="3600" b="0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628650" indent="-17780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Char char="n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30238" marR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Pct val="100000"/>
              <a:buFont typeface="Wingdings" panose="05000000000000000000" pitchFamily="2" charset="2"/>
              <a:buChar char="§"/>
              <a:tabLst/>
              <a:defRPr lang="de-DE" sz="18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marR="0" indent="-209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Pct val="100000"/>
              <a:buFont typeface="Arial Black" panose="020B0A04020102020204" pitchFamily="34" charset="0"/>
              <a:buChar char="−"/>
              <a:tabLst/>
              <a:def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900" b="1" dirty="0" smtClean="0">
                <a:solidFill>
                  <a:schemeClr val="tx1"/>
                </a:solidFill>
              </a:rPr>
              <a:t>So erreichen Sie uns:</a:t>
            </a:r>
            <a:endParaRPr lang="de-DE" sz="19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681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1" y="1071154"/>
            <a:ext cx="6491333" cy="458941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85490" y="4294106"/>
            <a:ext cx="2329017" cy="1746763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293341">
            <a:off x="6164207" y="4131372"/>
            <a:ext cx="2431584" cy="1823689"/>
          </a:xfrm>
          <a:prstGeom prst="rect">
            <a:avLst/>
          </a:prstGeom>
        </p:spPr>
      </p:pic>
      <p:sp>
        <p:nvSpPr>
          <p:cNvPr id="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461554" y="644434"/>
            <a:ext cx="552123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500" b="1" dirty="0" smtClean="0">
                <a:solidFill>
                  <a:srgbClr val="FF0000"/>
                </a:solidFill>
              </a:rPr>
              <a:t>Hier finden Sie uns:</a:t>
            </a:r>
            <a:endParaRPr lang="de-DE" sz="25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767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963397" y="2086334"/>
            <a:ext cx="5077823" cy="3808367"/>
          </a:xfrm>
          <a:prstGeom prst="rect">
            <a:avLst/>
          </a:prstGeom>
        </p:spPr>
      </p:pic>
      <p:sp>
        <p:nvSpPr>
          <p:cNvPr id="5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Familienberatungsstelle </a:t>
            </a:r>
            <a:r>
              <a:rPr lang="de-DE" dirty="0" err="1" smtClean="0"/>
              <a:t>eisenach</a:t>
            </a:r>
            <a:r>
              <a:rPr lang="de-DE" dirty="0" smtClean="0"/>
              <a:t>, </a:t>
            </a:r>
            <a:fld id="{AFC598A3-FB16-443F-BA79-9D8DC456B354}" type="datetime1">
              <a:rPr lang="de-DE" smtClean="0"/>
              <a:t>14.09.2020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9956" y="1015178"/>
            <a:ext cx="5077823" cy="3808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66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1"/>
</p:tagLst>
</file>

<file path=ppt/theme/theme1.xml><?xml version="1.0" encoding="utf-8"?>
<a:theme xmlns:a="http://schemas.openxmlformats.org/drawingml/2006/main" name="AWO_Vorlage">
  <a:themeElements>
    <a:clrScheme name="AWO">
      <a:dk1>
        <a:sysClr val="windowText" lastClr="000000"/>
      </a:dk1>
      <a:lt1>
        <a:sysClr val="window" lastClr="FFFFFF"/>
      </a:lt1>
      <a:dk2>
        <a:srgbClr val="E60004"/>
      </a:dk2>
      <a:lt2>
        <a:srgbClr val="FFFFFF"/>
      </a:lt2>
      <a:accent1>
        <a:srgbClr val="EC7405"/>
      </a:accent1>
      <a:accent2>
        <a:srgbClr val="009EE0"/>
      </a:accent2>
      <a:accent3>
        <a:srgbClr val="79B530"/>
      </a:accent3>
      <a:accent4>
        <a:srgbClr val="FECD1B"/>
      </a:accent4>
      <a:accent5>
        <a:srgbClr val="009EE0"/>
      </a:accent5>
      <a:accent6>
        <a:srgbClr val="EC7405"/>
      </a:accent6>
      <a:hlink>
        <a:srgbClr val="E60004"/>
      </a:hlink>
      <a:folHlink>
        <a:srgbClr val="FECD1B"/>
      </a:folHlink>
    </a:clrScheme>
    <a:fontScheme name="AW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0811 Vorlage AWO AJS gGmBH" id="{B8999968-C41D-4DA5-B65C-721F3F1EC7CD}" vid="{FAF707B8-6B35-4188-878C-A6B6A952A7B6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W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0811 Vorlage AWO AJS gGmBH</Template>
  <TotalTime>0</TotalTime>
  <Words>1221</Words>
  <Application>Microsoft Office PowerPoint</Application>
  <PresentationFormat>Bildschirmpräsentation (4:3)</PresentationFormat>
  <Paragraphs>336</Paragraphs>
  <Slides>33</Slides>
  <Notes>7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3</vt:i4>
      </vt:variant>
    </vt:vector>
  </HeadingPairs>
  <TitlesOfParts>
    <vt:vector size="39" baseType="lpstr">
      <vt:lpstr>Arial</vt:lpstr>
      <vt:lpstr>Arial Black</vt:lpstr>
      <vt:lpstr>ArialMT</vt:lpstr>
      <vt:lpstr>Calibri</vt:lpstr>
      <vt:lpstr>Wingdings</vt:lpstr>
      <vt:lpstr>AWO_Vorlage</vt:lpstr>
      <vt:lpstr>AWO Erziehungs-, Ehe-, Familien- und</vt:lpstr>
      <vt:lpstr>Inhaltsverzeichnis</vt:lpstr>
      <vt:lpstr>PowerPoint-Präsentation</vt:lpstr>
      <vt:lpstr>1. Wir stellen uns vor</vt:lpstr>
      <vt:lpstr>1. Wir stellen uns vor</vt:lpstr>
      <vt:lpstr>1. Wir stellen uns vor</vt:lpstr>
      <vt:lpstr>PowerPoint-Präsentation</vt:lpstr>
      <vt:lpstr>PowerPoint-Präsentation</vt:lpstr>
      <vt:lpstr>PowerPoint-Präsentation</vt:lpstr>
      <vt:lpstr>PowerPoint-Präsentation</vt:lpstr>
      <vt:lpstr>3. Unsere Angebote</vt:lpstr>
      <vt:lpstr>PowerPoint-Präsentation</vt:lpstr>
      <vt:lpstr>Erziehungsberatung</vt:lpstr>
      <vt:lpstr>Erziehungsberatung</vt:lpstr>
      <vt:lpstr>PowerPoint-Präsentation</vt:lpstr>
      <vt:lpstr>Ehe- und Paarberatung</vt:lpstr>
      <vt:lpstr>PowerPoint-Präsentation</vt:lpstr>
      <vt:lpstr>Trennungs- und Scheidungsberatung</vt:lpstr>
      <vt:lpstr>PowerPoint-Präsentation</vt:lpstr>
      <vt:lpstr>Lebensberatung</vt:lpstr>
      <vt:lpstr>PowerPoint-Präsentation</vt:lpstr>
      <vt:lpstr>Begleiteter Umgang (BU)</vt:lpstr>
      <vt:lpstr>PowerPoint-Präsentation</vt:lpstr>
      <vt:lpstr>Kurberatung</vt:lpstr>
      <vt:lpstr>PowerPoint-Präsentation</vt:lpstr>
      <vt:lpstr>Gruppenangebote</vt:lpstr>
      <vt:lpstr>PowerPoint-Präsentation</vt:lpstr>
      <vt:lpstr>Präventionsarbeit</vt:lpstr>
      <vt:lpstr>Präventionsarbeit</vt:lpstr>
      <vt:lpstr>PowerPoint-Präsentation</vt:lpstr>
      <vt:lpstr>Eltern- und Spielabende</vt:lpstr>
      <vt:lpstr>PowerPoint-Präsentation</vt:lpstr>
      <vt:lpstr>Vielen Dank für Ihr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er Titel der</dc:title>
  <dc:creator>Therese Surber</dc:creator>
  <cp:lastModifiedBy>Doreen Schrumpf</cp:lastModifiedBy>
  <cp:revision>93</cp:revision>
  <dcterms:created xsi:type="dcterms:W3CDTF">2020-08-24T12:12:05Z</dcterms:created>
  <dcterms:modified xsi:type="dcterms:W3CDTF">2020-09-14T04:31:58Z</dcterms:modified>
</cp:coreProperties>
</file>